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38" r:id="rId2"/>
  </p:sldMasterIdLst>
  <p:notesMasterIdLst>
    <p:notesMasterId r:id="rId18"/>
  </p:notesMasterIdLst>
  <p:handoutMasterIdLst>
    <p:handoutMasterId r:id="rId19"/>
  </p:handoutMasterIdLst>
  <p:sldIdLst>
    <p:sldId id="256" r:id="rId3"/>
    <p:sldId id="392" r:id="rId4"/>
    <p:sldId id="406" r:id="rId5"/>
    <p:sldId id="407" r:id="rId6"/>
    <p:sldId id="408" r:id="rId7"/>
    <p:sldId id="409" r:id="rId8"/>
    <p:sldId id="410" r:id="rId9"/>
    <p:sldId id="411" r:id="rId10"/>
    <p:sldId id="419" r:id="rId11"/>
    <p:sldId id="413" r:id="rId12"/>
    <p:sldId id="414" r:id="rId13"/>
    <p:sldId id="415" r:id="rId14"/>
    <p:sldId id="417" r:id="rId15"/>
    <p:sldId id="420" r:id="rId16"/>
    <p:sldId id="386" r:id="rId17"/>
  </p:sldIdLst>
  <p:sldSz cx="12192000" cy="6858000"/>
  <p:notesSz cx="6858000" cy="9144000"/>
  <p:custDataLst>
    <p:tags r:id="rId20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orient="horz" pos="3912" userDrawn="1">
          <p15:clr>
            <a:srgbClr val="A4A3A4"/>
          </p15:clr>
        </p15:guide>
        <p15:guide id="9" pos="3749" userDrawn="1">
          <p15:clr>
            <a:srgbClr val="A4A3A4"/>
          </p15:clr>
        </p15:guide>
        <p15:guide id="10" pos="3931" userDrawn="1">
          <p15:clr>
            <a:srgbClr val="A4A3A4"/>
          </p15:clr>
        </p15:guide>
        <p15:guide id="12" pos="75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327"/>
    <a:srgbClr val="B00000"/>
    <a:srgbClr val="F2C686"/>
    <a:srgbClr val="F2E386"/>
    <a:srgbClr val="CC0000"/>
    <a:srgbClr val="01D1D0"/>
    <a:srgbClr val="E6E7E7"/>
    <a:srgbClr val="0070AD"/>
    <a:srgbClr val="7F7F7F"/>
    <a:srgbClr val="6D64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45" autoAdjust="0"/>
    <p:restoredTop sz="92937" autoAdjust="0"/>
  </p:normalViewPr>
  <p:slideViewPr>
    <p:cSldViewPr>
      <p:cViewPr varScale="1">
        <p:scale>
          <a:sx n="70" d="100"/>
          <a:sy n="70" d="100"/>
        </p:scale>
        <p:origin x="580" y="60"/>
      </p:cViewPr>
      <p:guideLst>
        <p:guide orient="horz" pos="2341"/>
        <p:guide pos="3840"/>
        <p:guide orient="horz" pos="3912"/>
        <p:guide pos="3749"/>
        <p:guide pos="3931"/>
        <p:guide pos="75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300" y="-114"/>
      </p:cViewPr>
      <p:guideLst>
        <p:guide orient="horz" pos="2880"/>
        <p:guide pos="216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11/07/2018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11/07/2018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222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051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3674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RSC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Update</a:t>
            </a:r>
            <a:r>
              <a:rPr lang="en-US" sz="8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| October</a:t>
            </a:r>
            <a:r>
              <a:rPr lang="en-US" sz="800" kern="0" baseline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 2017</a:t>
            </a:r>
            <a:endParaRPr lang="en-US" sz="800" kern="0" dirty="0">
              <a:solidFill>
                <a:srgbClr val="00458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3411379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8. All rights reserved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5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r2d2-tools.capgemini.com/Home/Index" TargetMode="Externa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png"/><Relationship Id="rId5" Type="http://schemas.openxmlformats.org/officeDocument/2006/relationships/image" Target="../media/image14.wmf"/><Relationship Id="rId4" Type="http://schemas.openxmlformats.org/officeDocument/2006/relationships/package" Target="../embeddings/Microsoft_Word_Document1.docx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9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20000" y="1485000"/>
            <a:ext cx="8280000" cy="1475154"/>
          </a:xfrm>
        </p:spPr>
        <p:txBody>
          <a:bodyPr/>
          <a:lstStyle/>
          <a:p>
            <a:r>
              <a:rPr lang="en-IN" dirty="0"/>
              <a:t/>
            </a:r>
            <a:br>
              <a:rPr lang="en-IN" dirty="0"/>
            </a:br>
            <a:r>
              <a:rPr lang="en-IN" dirty="0"/>
              <a:t>Process to update skill and upload CV</a:t>
            </a:r>
            <a:endParaRPr lang="en-US" sz="2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8EDDC8-8481-4288-91B4-B4885E9AA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IN" dirty="0"/>
          </a:p>
        </p:txBody>
      </p:sp>
      <p:pic>
        <p:nvPicPr>
          <p:cNvPr id="211970" name="Picture 2">
            <a:extLst>
              <a:ext uri="{FF2B5EF4-FFF2-40B4-BE49-F238E27FC236}">
                <a16:creationId xmlns:a16="http://schemas.microsoft.com/office/drawing/2014/main" xmlns="" id="{D0C8313C-D42E-47CE-8FBB-FAE62722BF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00" y="2349000"/>
            <a:ext cx="7848000" cy="39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6F16F47-D9FE-40F7-A8B3-367759138675}"/>
              </a:ext>
            </a:extLst>
          </p:cNvPr>
          <p:cNvSpPr/>
          <p:nvPr/>
        </p:nvSpPr>
        <p:spPr>
          <a:xfrm>
            <a:off x="192000" y="1131808"/>
            <a:ext cx="315208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200" dirty="0">
                <a:solidFill>
                  <a:srgbClr val="FF0000"/>
                </a:solidFill>
              </a:rPr>
              <a:t>Enter the details as requested</a:t>
            </a:r>
          </a:p>
          <a:p>
            <a:pPr lvl="1"/>
            <a:r>
              <a:rPr lang="en-US" sz="1200" dirty="0">
                <a:solidFill>
                  <a:srgbClr val="FF0000"/>
                </a:solidFill>
              </a:rPr>
              <a:t>Proficiency   – First experience</a:t>
            </a:r>
          </a:p>
          <a:p>
            <a:pPr lvl="1"/>
            <a:r>
              <a:rPr lang="en-US" sz="1200" dirty="0">
                <a:solidFill>
                  <a:srgbClr val="FF0000"/>
                </a:solidFill>
              </a:rPr>
              <a:t>Experience   – Less Than a Year</a:t>
            </a:r>
          </a:p>
          <a:p>
            <a:pPr lvl="1"/>
            <a:r>
              <a:rPr lang="en-US" sz="1200" dirty="0">
                <a:solidFill>
                  <a:srgbClr val="FF0000"/>
                </a:solidFill>
              </a:rPr>
              <a:t>How recent  – Less than 3 years</a:t>
            </a:r>
          </a:p>
          <a:p>
            <a:pPr lvl="1"/>
            <a:r>
              <a:rPr lang="en-US" sz="1200" dirty="0">
                <a:solidFill>
                  <a:srgbClr val="FF0000"/>
                </a:solidFill>
              </a:rPr>
              <a:t>Click on Primary</a:t>
            </a:r>
          </a:p>
        </p:txBody>
      </p:sp>
    </p:spTree>
    <p:extLst>
      <p:ext uri="{BB962C8B-B14F-4D97-AF65-F5344CB8AC3E}">
        <p14:creationId xmlns:p14="http://schemas.microsoft.com/office/powerpoint/2010/main" val="367706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AD36AE-F26B-4AE1-8E05-71F6D38F1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IN" dirty="0"/>
          </a:p>
        </p:txBody>
      </p:sp>
      <p:pic>
        <p:nvPicPr>
          <p:cNvPr id="212994" name="Picture 2">
            <a:extLst>
              <a:ext uri="{FF2B5EF4-FFF2-40B4-BE49-F238E27FC236}">
                <a16:creationId xmlns:a16="http://schemas.microsoft.com/office/drawing/2014/main" xmlns="" id="{B7D54C1A-2B6B-4179-B3BF-90D4DA24A3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9" y="1485000"/>
            <a:ext cx="7488000" cy="449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0BDCE65-DDF6-4EF1-9EB8-F99E23271F24}"/>
              </a:ext>
            </a:extLst>
          </p:cNvPr>
          <p:cNvSpPr/>
          <p:nvPr/>
        </p:nvSpPr>
        <p:spPr>
          <a:xfrm>
            <a:off x="192000" y="1131808"/>
            <a:ext cx="39026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200" dirty="0">
                <a:solidFill>
                  <a:srgbClr val="FF0000"/>
                </a:solidFill>
              </a:rPr>
              <a:t>Once details are entered click  on Save changes</a:t>
            </a:r>
          </a:p>
        </p:txBody>
      </p:sp>
    </p:spTree>
    <p:extLst>
      <p:ext uri="{BB962C8B-B14F-4D97-AF65-F5344CB8AC3E}">
        <p14:creationId xmlns:p14="http://schemas.microsoft.com/office/powerpoint/2010/main" val="3876496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F3680E-A687-41C6-93C0-370A855A5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IN" dirty="0"/>
          </a:p>
        </p:txBody>
      </p:sp>
      <p:pic>
        <p:nvPicPr>
          <p:cNvPr id="214018" name="Picture 2">
            <a:extLst>
              <a:ext uri="{FF2B5EF4-FFF2-40B4-BE49-F238E27FC236}">
                <a16:creationId xmlns:a16="http://schemas.microsoft.com/office/drawing/2014/main" xmlns="" id="{5B83914C-E3F0-4356-AF30-B1595E498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801" y="1485000"/>
            <a:ext cx="8208000" cy="43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5AB78E8-22D3-485D-8AB0-092F83BFE81A}"/>
              </a:ext>
            </a:extLst>
          </p:cNvPr>
          <p:cNvSpPr/>
          <p:nvPr/>
        </p:nvSpPr>
        <p:spPr>
          <a:xfrm>
            <a:off x="192000" y="1131808"/>
            <a:ext cx="8851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200" dirty="0">
                <a:solidFill>
                  <a:srgbClr val="FF0000"/>
                </a:solidFill>
              </a:rPr>
              <a:t>Click OK </a:t>
            </a:r>
          </a:p>
        </p:txBody>
      </p:sp>
    </p:spTree>
    <p:extLst>
      <p:ext uri="{BB962C8B-B14F-4D97-AF65-F5344CB8AC3E}">
        <p14:creationId xmlns:p14="http://schemas.microsoft.com/office/powerpoint/2010/main" val="868686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F88144-BFFD-4BED-ABFE-BA57CBD22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CV Upload</a:t>
            </a:r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81082E2-100E-4CF6-A04C-39D09793051F}"/>
              </a:ext>
            </a:extLst>
          </p:cNvPr>
          <p:cNvSpPr/>
          <p:nvPr/>
        </p:nvSpPr>
        <p:spPr>
          <a:xfrm>
            <a:off x="336000" y="765000"/>
            <a:ext cx="856800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IN" sz="1200" dirty="0">
                <a:solidFill>
                  <a:srgbClr val="FF0000"/>
                </a:solidFill>
              </a:rPr>
              <a:t>Create your resume using the attached word template. File name should be EmpCode_EN.doc</a:t>
            </a:r>
          </a:p>
          <a:p>
            <a:endParaRPr lang="en-IN" sz="1200" dirty="0">
              <a:solidFill>
                <a:srgbClr val="FF0000"/>
              </a:solidFill>
            </a:endParaRPr>
          </a:p>
          <a:p>
            <a:r>
              <a:rPr lang="en-IN" sz="1200" dirty="0">
                <a:solidFill>
                  <a:srgbClr val="FF0000"/>
                </a:solidFill>
              </a:rPr>
              <a:t>Open the following </a:t>
            </a:r>
            <a:r>
              <a:rPr lang="en-IN" sz="1200" dirty="0" err="1">
                <a:solidFill>
                  <a:srgbClr val="FF0000"/>
                </a:solidFill>
              </a:rPr>
              <a:t>url</a:t>
            </a:r>
            <a:r>
              <a:rPr lang="en-IN" sz="1200" dirty="0">
                <a:solidFill>
                  <a:srgbClr val="FF0000"/>
                </a:solidFill>
              </a:rPr>
              <a:t>  in the Chrome browser to upload your resume in the Skill Portal </a:t>
            </a:r>
          </a:p>
          <a:p>
            <a:r>
              <a:rPr lang="en-IN" sz="1200" dirty="0">
                <a:solidFill>
                  <a:srgbClr val="FF0000"/>
                </a:solidFill>
              </a:rPr>
              <a:t> </a:t>
            </a:r>
            <a:r>
              <a:rPr lang="en-IN" sz="1200" dirty="0">
                <a:solidFill>
                  <a:srgbClr val="FF0000"/>
                </a:solidFill>
                <a:hlinkClick r:id="rId3"/>
              </a:rPr>
              <a:t>http://r2d2-tools.capgemini.com/Home/Index</a:t>
            </a:r>
            <a:endParaRPr lang="en-IN" sz="1200" dirty="0">
              <a:solidFill>
                <a:srgbClr val="FF0000"/>
              </a:solidFill>
            </a:endParaRPr>
          </a:p>
          <a:p>
            <a:endParaRPr lang="en-US" sz="1200" dirty="0">
              <a:solidFill>
                <a:srgbClr val="FF0000"/>
              </a:solidFill>
            </a:endParaRPr>
          </a:p>
          <a:p>
            <a:r>
              <a:rPr lang="en-US" sz="1200" dirty="0">
                <a:solidFill>
                  <a:srgbClr val="FF0000"/>
                </a:solidFill>
              </a:rPr>
              <a:t>Enter Language as  English</a:t>
            </a:r>
          </a:p>
          <a:p>
            <a:r>
              <a:rPr lang="en-US" sz="1200" dirty="0">
                <a:solidFill>
                  <a:srgbClr val="FF0000"/>
                </a:solidFill>
              </a:rPr>
              <a:t>Click on Choose File and select the resume from the directory saved </a:t>
            </a:r>
          </a:p>
          <a:p>
            <a:r>
              <a:rPr lang="en-US" sz="1200" dirty="0">
                <a:solidFill>
                  <a:srgbClr val="FF0000"/>
                </a:solidFill>
              </a:rPr>
              <a:t>Click on Submit. </a:t>
            </a:r>
            <a:endParaRPr lang="en-US" sz="1200" dirty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xmlns="" id="{FF0C756A-084E-4697-BC2B-A9CA769C1A2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88938055"/>
              </p:ext>
            </p:extLst>
          </p:nvPr>
        </p:nvGraphicFramePr>
        <p:xfrm>
          <a:off x="9408000" y="943169"/>
          <a:ext cx="1224000" cy="79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5" name="Document" showAsIcon="1" r:id="rId4" imgW="914400" imgH="806400" progId="Word.Document.12">
                  <p:embed/>
                </p:oleObj>
              </mc:Choice>
              <mc:Fallback>
                <p:oleObj name="Document" showAsIcon="1" r:id="rId4" imgW="914400" imgH="8064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408000" y="943169"/>
                        <a:ext cx="1224000" cy="792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A538F0E-FF9B-418D-9543-3DC075C5E7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017" y="2781000"/>
            <a:ext cx="5375167" cy="3558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214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F88144-BFFD-4BED-ABFE-BA57CBD22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CV Upload</a:t>
            </a: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653566D-C8BA-42BB-BD92-9909C25E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1935109"/>
            <a:ext cx="6527660" cy="43218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718BDEE-EF42-4171-B39D-6941BF1FDAF8}"/>
              </a:ext>
            </a:extLst>
          </p:cNvPr>
          <p:cNvSpPr txBox="1"/>
          <p:nvPr/>
        </p:nvSpPr>
        <p:spPr>
          <a:xfrm>
            <a:off x="195132" y="981000"/>
            <a:ext cx="68475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Language should be English</a:t>
            </a:r>
          </a:p>
          <a:p>
            <a:r>
              <a:rPr lang="en-US" sz="1200" dirty="0">
                <a:solidFill>
                  <a:srgbClr val="FF0000"/>
                </a:solidFill>
              </a:rPr>
              <a:t>Click on Choose File and select the resume</a:t>
            </a:r>
          </a:p>
          <a:p>
            <a:r>
              <a:rPr lang="en-US" sz="1200" dirty="0">
                <a:solidFill>
                  <a:srgbClr val="FF0000"/>
                </a:solidFill>
              </a:rPr>
              <a:t>Click on Submit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6815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0036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3823667" y="2758562"/>
            <a:ext cx="4544681" cy="1340873"/>
            <a:chOff x="2036763" y="4274677"/>
            <a:chExt cx="5076825" cy="1843548"/>
          </a:xfrm>
        </p:grpSpPr>
        <p:sp>
          <p:nvSpPr>
            <p:cNvPr id="5" name="Freeform 4"/>
            <p:cNvSpPr>
              <a:spLocks noEditPoints="1"/>
            </p:cNvSpPr>
            <p:nvPr/>
          </p:nvSpPr>
          <p:spPr bwMode="auto">
            <a:xfrm>
              <a:off x="2554288" y="4314825"/>
              <a:ext cx="419100" cy="419100"/>
            </a:xfrm>
            <a:custGeom>
              <a:avLst/>
              <a:gdLst>
                <a:gd name="T0" fmla="*/ 132 w 264"/>
                <a:gd name="T1" fmla="*/ 264 h 264"/>
                <a:gd name="T2" fmla="*/ 106 w 264"/>
                <a:gd name="T3" fmla="*/ 262 h 264"/>
                <a:gd name="T4" fmla="*/ 82 w 264"/>
                <a:gd name="T5" fmla="*/ 254 h 264"/>
                <a:gd name="T6" fmla="*/ 58 w 264"/>
                <a:gd name="T7" fmla="*/ 242 h 264"/>
                <a:gd name="T8" fmla="*/ 40 w 264"/>
                <a:gd name="T9" fmla="*/ 226 h 264"/>
                <a:gd name="T10" fmla="*/ 24 w 264"/>
                <a:gd name="T11" fmla="*/ 206 h 264"/>
                <a:gd name="T12" fmla="*/ 12 w 264"/>
                <a:gd name="T13" fmla="*/ 184 h 264"/>
                <a:gd name="T14" fmla="*/ 4 w 264"/>
                <a:gd name="T15" fmla="*/ 160 h 264"/>
                <a:gd name="T16" fmla="*/ 0 w 264"/>
                <a:gd name="T17" fmla="*/ 132 h 264"/>
                <a:gd name="T18" fmla="*/ 2 w 264"/>
                <a:gd name="T19" fmla="*/ 120 h 264"/>
                <a:gd name="T20" fmla="*/ 6 w 264"/>
                <a:gd name="T21" fmla="*/ 94 h 264"/>
                <a:gd name="T22" fmla="*/ 16 w 264"/>
                <a:gd name="T23" fmla="*/ 70 h 264"/>
                <a:gd name="T24" fmla="*/ 30 w 264"/>
                <a:gd name="T25" fmla="*/ 48 h 264"/>
                <a:gd name="T26" fmla="*/ 48 w 264"/>
                <a:gd name="T27" fmla="*/ 30 h 264"/>
                <a:gd name="T28" fmla="*/ 70 w 264"/>
                <a:gd name="T29" fmla="*/ 16 h 264"/>
                <a:gd name="T30" fmla="*/ 94 w 264"/>
                <a:gd name="T31" fmla="*/ 6 h 264"/>
                <a:gd name="T32" fmla="*/ 120 w 264"/>
                <a:gd name="T33" fmla="*/ 2 h 264"/>
                <a:gd name="T34" fmla="*/ 132 w 264"/>
                <a:gd name="T35" fmla="*/ 0 h 264"/>
                <a:gd name="T36" fmla="*/ 160 w 264"/>
                <a:gd name="T37" fmla="*/ 4 h 264"/>
                <a:gd name="T38" fmla="*/ 184 w 264"/>
                <a:gd name="T39" fmla="*/ 12 h 264"/>
                <a:gd name="T40" fmla="*/ 206 w 264"/>
                <a:gd name="T41" fmla="*/ 24 h 264"/>
                <a:gd name="T42" fmla="*/ 226 w 264"/>
                <a:gd name="T43" fmla="*/ 40 h 264"/>
                <a:gd name="T44" fmla="*/ 242 w 264"/>
                <a:gd name="T45" fmla="*/ 58 h 264"/>
                <a:gd name="T46" fmla="*/ 254 w 264"/>
                <a:gd name="T47" fmla="*/ 82 h 264"/>
                <a:gd name="T48" fmla="*/ 262 w 264"/>
                <a:gd name="T49" fmla="*/ 106 h 264"/>
                <a:gd name="T50" fmla="*/ 264 w 264"/>
                <a:gd name="T51" fmla="*/ 132 h 264"/>
                <a:gd name="T52" fmla="*/ 264 w 264"/>
                <a:gd name="T53" fmla="*/ 146 h 264"/>
                <a:gd name="T54" fmla="*/ 258 w 264"/>
                <a:gd name="T55" fmla="*/ 172 h 264"/>
                <a:gd name="T56" fmla="*/ 248 w 264"/>
                <a:gd name="T57" fmla="*/ 196 h 264"/>
                <a:gd name="T58" fmla="*/ 234 w 264"/>
                <a:gd name="T59" fmla="*/ 216 h 264"/>
                <a:gd name="T60" fmla="*/ 216 w 264"/>
                <a:gd name="T61" fmla="*/ 234 h 264"/>
                <a:gd name="T62" fmla="*/ 196 w 264"/>
                <a:gd name="T63" fmla="*/ 248 h 264"/>
                <a:gd name="T64" fmla="*/ 172 w 264"/>
                <a:gd name="T65" fmla="*/ 258 h 264"/>
                <a:gd name="T66" fmla="*/ 146 w 264"/>
                <a:gd name="T67" fmla="*/ 264 h 264"/>
                <a:gd name="T68" fmla="*/ 132 w 264"/>
                <a:gd name="T69" fmla="*/ 264 h 264"/>
                <a:gd name="T70" fmla="*/ 132 w 264"/>
                <a:gd name="T71" fmla="*/ 18 h 264"/>
                <a:gd name="T72" fmla="*/ 88 w 264"/>
                <a:gd name="T73" fmla="*/ 28 h 264"/>
                <a:gd name="T74" fmla="*/ 52 w 264"/>
                <a:gd name="T75" fmla="*/ 52 h 264"/>
                <a:gd name="T76" fmla="*/ 26 w 264"/>
                <a:gd name="T77" fmla="*/ 88 h 264"/>
                <a:gd name="T78" fmla="*/ 18 w 264"/>
                <a:gd name="T79" fmla="*/ 132 h 264"/>
                <a:gd name="T80" fmla="*/ 20 w 264"/>
                <a:gd name="T81" fmla="*/ 156 h 264"/>
                <a:gd name="T82" fmla="*/ 38 w 264"/>
                <a:gd name="T83" fmla="*/ 196 h 264"/>
                <a:gd name="T84" fmla="*/ 68 w 264"/>
                <a:gd name="T85" fmla="*/ 228 h 264"/>
                <a:gd name="T86" fmla="*/ 110 w 264"/>
                <a:gd name="T87" fmla="*/ 246 h 264"/>
                <a:gd name="T88" fmla="*/ 132 w 264"/>
                <a:gd name="T89" fmla="*/ 248 h 264"/>
                <a:gd name="T90" fmla="*/ 178 w 264"/>
                <a:gd name="T91" fmla="*/ 238 h 264"/>
                <a:gd name="T92" fmla="*/ 214 w 264"/>
                <a:gd name="T93" fmla="*/ 214 h 264"/>
                <a:gd name="T94" fmla="*/ 238 w 264"/>
                <a:gd name="T95" fmla="*/ 178 h 264"/>
                <a:gd name="T96" fmla="*/ 248 w 264"/>
                <a:gd name="T97" fmla="*/ 132 h 264"/>
                <a:gd name="T98" fmla="*/ 244 w 264"/>
                <a:gd name="T99" fmla="*/ 110 h 264"/>
                <a:gd name="T100" fmla="*/ 228 w 264"/>
                <a:gd name="T101" fmla="*/ 68 h 264"/>
                <a:gd name="T102" fmla="*/ 196 w 264"/>
                <a:gd name="T103" fmla="*/ 38 h 264"/>
                <a:gd name="T104" fmla="*/ 156 w 264"/>
                <a:gd name="T105" fmla="*/ 20 h 264"/>
                <a:gd name="T106" fmla="*/ 132 w 264"/>
                <a:gd name="T107" fmla="*/ 1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264">
                  <a:moveTo>
                    <a:pt x="132" y="264"/>
                  </a:moveTo>
                  <a:lnTo>
                    <a:pt x="132" y="264"/>
                  </a:lnTo>
                  <a:lnTo>
                    <a:pt x="120" y="264"/>
                  </a:lnTo>
                  <a:lnTo>
                    <a:pt x="106" y="262"/>
                  </a:lnTo>
                  <a:lnTo>
                    <a:pt x="94" y="258"/>
                  </a:lnTo>
                  <a:lnTo>
                    <a:pt x="82" y="254"/>
                  </a:lnTo>
                  <a:lnTo>
                    <a:pt x="70" y="248"/>
                  </a:lnTo>
                  <a:lnTo>
                    <a:pt x="58" y="242"/>
                  </a:lnTo>
                  <a:lnTo>
                    <a:pt x="48" y="234"/>
                  </a:lnTo>
                  <a:lnTo>
                    <a:pt x="40" y="226"/>
                  </a:lnTo>
                  <a:lnTo>
                    <a:pt x="30" y="216"/>
                  </a:lnTo>
                  <a:lnTo>
                    <a:pt x="24" y="206"/>
                  </a:lnTo>
                  <a:lnTo>
                    <a:pt x="16" y="196"/>
                  </a:lnTo>
                  <a:lnTo>
                    <a:pt x="12" y="184"/>
                  </a:lnTo>
                  <a:lnTo>
                    <a:pt x="6" y="172"/>
                  </a:lnTo>
                  <a:lnTo>
                    <a:pt x="4" y="160"/>
                  </a:lnTo>
                  <a:lnTo>
                    <a:pt x="2" y="14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20"/>
                  </a:lnTo>
                  <a:lnTo>
                    <a:pt x="4" y="106"/>
                  </a:lnTo>
                  <a:lnTo>
                    <a:pt x="6" y="94"/>
                  </a:lnTo>
                  <a:lnTo>
                    <a:pt x="12" y="82"/>
                  </a:lnTo>
                  <a:lnTo>
                    <a:pt x="16" y="70"/>
                  </a:lnTo>
                  <a:lnTo>
                    <a:pt x="24" y="58"/>
                  </a:lnTo>
                  <a:lnTo>
                    <a:pt x="30" y="48"/>
                  </a:lnTo>
                  <a:lnTo>
                    <a:pt x="40" y="40"/>
                  </a:lnTo>
                  <a:lnTo>
                    <a:pt x="48" y="30"/>
                  </a:lnTo>
                  <a:lnTo>
                    <a:pt x="58" y="24"/>
                  </a:lnTo>
                  <a:lnTo>
                    <a:pt x="70" y="16"/>
                  </a:lnTo>
                  <a:lnTo>
                    <a:pt x="82" y="12"/>
                  </a:lnTo>
                  <a:lnTo>
                    <a:pt x="94" y="6"/>
                  </a:lnTo>
                  <a:lnTo>
                    <a:pt x="106" y="4"/>
                  </a:lnTo>
                  <a:lnTo>
                    <a:pt x="120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6" y="2"/>
                  </a:lnTo>
                  <a:lnTo>
                    <a:pt x="160" y="4"/>
                  </a:lnTo>
                  <a:lnTo>
                    <a:pt x="172" y="6"/>
                  </a:lnTo>
                  <a:lnTo>
                    <a:pt x="184" y="12"/>
                  </a:lnTo>
                  <a:lnTo>
                    <a:pt x="196" y="16"/>
                  </a:lnTo>
                  <a:lnTo>
                    <a:pt x="206" y="24"/>
                  </a:lnTo>
                  <a:lnTo>
                    <a:pt x="216" y="30"/>
                  </a:lnTo>
                  <a:lnTo>
                    <a:pt x="226" y="40"/>
                  </a:lnTo>
                  <a:lnTo>
                    <a:pt x="234" y="48"/>
                  </a:lnTo>
                  <a:lnTo>
                    <a:pt x="242" y="58"/>
                  </a:lnTo>
                  <a:lnTo>
                    <a:pt x="248" y="70"/>
                  </a:lnTo>
                  <a:lnTo>
                    <a:pt x="254" y="82"/>
                  </a:lnTo>
                  <a:lnTo>
                    <a:pt x="258" y="94"/>
                  </a:lnTo>
                  <a:lnTo>
                    <a:pt x="262" y="106"/>
                  </a:lnTo>
                  <a:lnTo>
                    <a:pt x="264" y="120"/>
                  </a:lnTo>
                  <a:lnTo>
                    <a:pt x="264" y="132"/>
                  </a:lnTo>
                  <a:lnTo>
                    <a:pt x="264" y="132"/>
                  </a:lnTo>
                  <a:lnTo>
                    <a:pt x="264" y="146"/>
                  </a:lnTo>
                  <a:lnTo>
                    <a:pt x="262" y="160"/>
                  </a:lnTo>
                  <a:lnTo>
                    <a:pt x="258" y="172"/>
                  </a:lnTo>
                  <a:lnTo>
                    <a:pt x="254" y="184"/>
                  </a:lnTo>
                  <a:lnTo>
                    <a:pt x="248" y="196"/>
                  </a:lnTo>
                  <a:lnTo>
                    <a:pt x="242" y="206"/>
                  </a:lnTo>
                  <a:lnTo>
                    <a:pt x="234" y="216"/>
                  </a:lnTo>
                  <a:lnTo>
                    <a:pt x="226" y="226"/>
                  </a:lnTo>
                  <a:lnTo>
                    <a:pt x="216" y="234"/>
                  </a:lnTo>
                  <a:lnTo>
                    <a:pt x="206" y="242"/>
                  </a:lnTo>
                  <a:lnTo>
                    <a:pt x="196" y="248"/>
                  </a:lnTo>
                  <a:lnTo>
                    <a:pt x="184" y="254"/>
                  </a:lnTo>
                  <a:lnTo>
                    <a:pt x="172" y="258"/>
                  </a:lnTo>
                  <a:lnTo>
                    <a:pt x="160" y="262"/>
                  </a:lnTo>
                  <a:lnTo>
                    <a:pt x="146" y="264"/>
                  </a:lnTo>
                  <a:lnTo>
                    <a:pt x="132" y="264"/>
                  </a:lnTo>
                  <a:lnTo>
                    <a:pt x="132" y="264"/>
                  </a:lnTo>
                  <a:close/>
                  <a:moveTo>
                    <a:pt x="132" y="18"/>
                  </a:moveTo>
                  <a:lnTo>
                    <a:pt x="132" y="18"/>
                  </a:lnTo>
                  <a:lnTo>
                    <a:pt x="110" y="20"/>
                  </a:lnTo>
                  <a:lnTo>
                    <a:pt x="88" y="28"/>
                  </a:lnTo>
                  <a:lnTo>
                    <a:pt x="68" y="38"/>
                  </a:lnTo>
                  <a:lnTo>
                    <a:pt x="52" y="52"/>
                  </a:lnTo>
                  <a:lnTo>
                    <a:pt x="38" y="68"/>
                  </a:lnTo>
                  <a:lnTo>
                    <a:pt x="26" y="88"/>
                  </a:lnTo>
                  <a:lnTo>
                    <a:pt x="20" y="110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20" y="156"/>
                  </a:lnTo>
                  <a:lnTo>
                    <a:pt x="26" y="178"/>
                  </a:lnTo>
                  <a:lnTo>
                    <a:pt x="38" y="196"/>
                  </a:lnTo>
                  <a:lnTo>
                    <a:pt x="52" y="214"/>
                  </a:lnTo>
                  <a:lnTo>
                    <a:pt x="68" y="228"/>
                  </a:lnTo>
                  <a:lnTo>
                    <a:pt x="88" y="238"/>
                  </a:lnTo>
                  <a:lnTo>
                    <a:pt x="110" y="246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56" y="246"/>
                  </a:lnTo>
                  <a:lnTo>
                    <a:pt x="178" y="238"/>
                  </a:lnTo>
                  <a:lnTo>
                    <a:pt x="196" y="228"/>
                  </a:lnTo>
                  <a:lnTo>
                    <a:pt x="214" y="214"/>
                  </a:lnTo>
                  <a:lnTo>
                    <a:pt x="228" y="196"/>
                  </a:lnTo>
                  <a:lnTo>
                    <a:pt x="238" y="178"/>
                  </a:lnTo>
                  <a:lnTo>
                    <a:pt x="244" y="156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4" y="110"/>
                  </a:lnTo>
                  <a:lnTo>
                    <a:pt x="238" y="88"/>
                  </a:lnTo>
                  <a:lnTo>
                    <a:pt x="228" y="68"/>
                  </a:lnTo>
                  <a:lnTo>
                    <a:pt x="214" y="52"/>
                  </a:lnTo>
                  <a:lnTo>
                    <a:pt x="196" y="38"/>
                  </a:lnTo>
                  <a:lnTo>
                    <a:pt x="178" y="28"/>
                  </a:lnTo>
                  <a:lnTo>
                    <a:pt x="156" y="20"/>
                  </a:lnTo>
                  <a:lnTo>
                    <a:pt x="132" y="18"/>
                  </a:lnTo>
                  <a:lnTo>
                    <a:pt x="132" y="1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2036763" y="4822825"/>
              <a:ext cx="361950" cy="361950"/>
            </a:xfrm>
            <a:custGeom>
              <a:avLst/>
              <a:gdLst>
                <a:gd name="T0" fmla="*/ 114 w 228"/>
                <a:gd name="T1" fmla="*/ 228 h 228"/>
                <a:gd name="T2" fmla="*/ 70 w 228"/>
                <a:gd name="T3" fmla="*/ 220 h 228"/>
                <a:gd name="T4" fmla="*/ 32 w 228"/>
                <a:gd name="T5" fmla="*/ 194 h 228"/>
                <a:gd name="T6" fmla="*/ 8 w 228"/>
                <a:gd name="T7" fmla="*/ 158 h 228"/>
                <a:gd name="T8" fmla="*/ 0 w 228"/>
                <a:gd name="T9" fmla="*/ 114 h 228"/>
                <a:gd name="T10" fmla="*/ 2 w 228"/>
                <a:gd name="T11" fmla="*/ 90 h 228"/>
                <a:gd name="T12" fmla="*/ 18 w 228"/>
                <a:gd name="T13" fmla="*/ 50 h 228"/>
                <a:gd name="T14" fmla="*/ 50 w 228"/>
                <a:gd name="T15" fmla="*/ 18 h 228"/>
                <a:gd name="T16" fmla="*/ 90 w 228"/>
                <a:gd name="T17" fmla="*/ 2 h 228"/>
                <a:gd name="T18" fmla="*/ 114 w 228"/>
                <a:gd name="T19" fmla="*/ 0 h 228"/>
                <a:gd name="T20" fmla="*/ 158 w 228"/>
                <a:gd name="T21" fmla="*/ 8 h 228"/>
                <a:gd name="T22" fmla="*/ 194 w 228"/>
                <a:gd name="T23" fmla="*/ 32 h 228"/>
                <a:gd name="T24" fmla="*/ 220 w 228"/>
                <a:gd name="T25" fmla="*/ 70 h 228"/>
                <a:gd name="T26" fmla="*/ 228 w 228"/>
                <a:gd name="T27" fmla="*/ 114 h 228"/>
                <a:gd name="T28" fmla="*/ 226 w 228"/>
                <a:gd name="T29" fmla="*/ 136 h 228"/>
                <a:gd name="T30" fmla="*/ 208 w 228"/>
                <a:gd name="T31" fmla="*/ 178 h 228"/>
                <a:gd name="T32" fmla="*/ 178 w 228"/>
                <a:gd name="T33" fmla="*/ 208 h 228"/>
                <a:gd name="T34" fmla="*/ 136 w 228"/>
                <a:gd name="T35" fmla="*/ 226 h 228"/>
                <a:gd name="T36" fmla="*/ 114 w 228"/>
                <a:gd name="T37" fmla="*/ 228 h 228"/>
                <a:gd name="T38" fmla="*/ 114 w 228"/>
                <a:gd name="T39" fmla="*/ 16 h 228"/>
                <a:gd name="T40" fmla="*/ 76 w 228"/>
                <a:gd name="T41" fmla="*/ 24 h 228"/>
                <a:gd name="T42" fmla="*/ 44 w 228"/>
                <a:gd name="T43" fmla="*/ 44 h 228"/>
                <a:gd name="T44" fmla="*/ 24 w 228"/>
                <a:gd name="T45" fmla="*/ 76 h 228"/>
                <a:gd name="T46" fmla="*/ 16 w 228"/>
                <a:gd name="T47" fmla="*/ 114 h 228"/>
                <a:gd name="T48" fmla="*/ 18 w 228"/>
                <a:gd name="T49" fmla="*/ 134 h 228"/>
                <a:gd name="T50" fmla="*/ 34 w 228"/>
                <a:gd name="T51" fmla="*/ 168 h 228"/>
                <a:gd name="T52" fmla="*/ 60 w 228"/>
                <a:gd name="T53" fmla="*/ 194 h 228"/>
                <a:gd name="T54" fmla="*/ 94 w 228"/>
                <a:gd name="T55" fmla="*/ 210 h 228"/>
                <a:gd name="T56" fmla="*/ 114 w 228"/>
                <a:gd name="T57" fmla="*/ 212 h 228"/>
                <a:gd name="T58" fmla="*/ 152 w 228"/>
                <a:gd name="T59" fmla="*/ 204 h 228"/>
                <a:gd name="T60" fmla="*/ 182 w 228"/>
                <a:gd name="T61" fmla="*/ 182 h 228"/>
                <a:gd name="T62" fmla="*/ 204 w 228"/>
                <a:gd name="T63" fmla="*/ 152 h 228"/>
                <a:gd name="T64" fmla="*/ 212 w 228"/>
                <a:gd name="T65" fmla="*/ 114 h 228"/>
                <a:gd name="T66" fmla="*/ 210 w 228"/>
                <a:gd name="T67" fmla="*/ 94 h 228"/>
                <a:gd name="T68" fmla="*/ 194 w 228"/>
                <a:gd name="T69" fmla="*/ 60 h 228"/>
                <a:gd name="T70" fmla="*/ 168 w 228"/>
                <a:gd name="T71" fmla="*/ 32 h 228"/>
                <a:gd name="T72" fmla="*/ 134 w 228"/>
                <a:gd name="T73" fmla="*/ 18 h 228"/>
                <a:gd name="T74" fmla="*/ 114 w 228"/>
                <a:gd name="T75" fmla="*/ 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lnTo>
                    <a:pt x="114" y="228"/>
                  </a:lnTo>
                  <a:lnTo>
                    <a:pt x="90" y="226"/>
                  </a:lnTo>
                  <a:lnTo>
                    <a:pt x="70" y="220"/>
                  </a:lnTo>
                  <a:lnTo>
                    <a:pt x="50" y="208"/>
                  </a:lnTo>
                  <a:lnTo>
                    <a:pt x="32" y="194"/>
                  </a:lnTo>
                  <a:lnTo>
                    <a:pt x="18" y="178"/>
                  </a:lnTo>
                  <a:lnTo>
                    <a:pt x="8" y="158"/>
                  </a:lnTo>
                  <a:lnTo>
                    <a:pt x="2" y="136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90"/>
                  </a:lnTo>
                  <a:lnTo>
                    <a:pt x="8" y="70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50" y="18"/>
                  </a:lnTo>
                  <a:lnTo>
                    <a:pt x="70" y="8"/>
                  </a:lnTo>
                  <a:lnTo>
                    <a:pt x="90" y="2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36" y="2"/>
                  </a:lnTo>
                  <a:lnTo>
                    <a:pt x="158" y="8"/>
                  </a:lnTo>
                  <a:lnTo>
                    <a:pt x="178" y="18"/>
                  </a:lnTo>
                  <a:lnTo>
                    <a:pt x="194" y="32"/>
                  </a:lnTo>
                  <a:lnTo>
                    <a:pt x="208" y="50"/>
                  </a:lnTo>
                  <a:lnTo>
                    <a:pt x="220" y="70"/>
                  </a:lnTo>
                  <a:lnTo>
                    <a:pt x="226" y="90"/>
                  </a:lnTo>
                  <a:lnTo>
                    <a:pt x="228" y="114"/>
                  </a:lnTo>
                  <a:lnTo>
                    <a:pt x="228" y="114"/>
                  </a:lnTo>
                  <a:lnTo>
                    <a:pt x="226" y="136"/>
                  </a:lnTo>
                  <a:lnTo>
                    <a:pt x="220" y="158"/>
                  </a:lnTo>
                  <a:lnTo>
                    <a:pt x="208" y="178"/>
                  </a:lnTo>
                  <a:lnTo>
                    <a:pt x="194" y="194"/>
                  </a:lnTo>
                  <a:lnTo>
                    <a:pt x="178" y="208"/>
                  </a:lnTo>
                  <a:lnTo>
                    <a:pt x="158" y="220"/>
                  </a:lnTo>
                  <a:lnTo>
                    <a:pt x="136" y="226"/>
                  </a:lnTo>
                  <a:lnTo>
                    <a:pt x="114" y="228"/>
                  </a:lnTo>
                  <a:lnTo>
                    <a:pt x="114" y="228"/>
                  </a:lnTo>
                  <a:close/>
                  <a:moveTo>
                    <a:pt x="114" y="16"/>
                  </a:moveTo>
                  <a:lnTo>
                    <a:pt x="114" y="16"/>
                  </a:lnTo>
                  <a:lnTo>
                    <a:pt x="94" y="18"/>
                  </a:lnTo>
                  <a:lnTo>
                    <a:pt x="76" y="24"/>
                  </a:lnTo>
                  <a:lnTo>
                    <a:pt x="60" y="32"/>
                  </a:lnTo>
                  <a:lnTo>
                    <a:pt x="44" y="44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18" y="9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8" y="134"/>
                  </a:lnTo>
                  <a:lnTo>
                    <a:pt x="24" y="152"/>
                  </a:lnTo>
                  <a:lnTo>
                    <a:pt x="34" y="168"/>
                  </a:lnTo>
                  <a:lnTo>
                    <a:pt x="44" y="182"/>
                  </a:lnTo>
                  <a:lnTo>
                    <a:pt x="60" y="194"/>
                  </a:lnTo>
                  <a:lnTo>
                    <a:pt x="76" y="204"/>
                  </a:lnTo>
                  <a:lnTo>
                    <a:pt x="94" y="210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34" y="210"/>
                  </a:lnTo>
                  <a:lnTo>
                    <a:pt x="152" y="204"/>
                  </a:lnTo>
                  <a:lnTo>
                    <a:pt x="168" y="194"/>
                  </a:lnTo>
                  <a:lnTo>
                    <a:pt x="182" y="182"/>
                  </a:lnTo>
                  <a:lnTo>
                    <a:pt x="194" y="168"/>
                  </a:lnTo>
                  <a:lnTo>
                    <a:pt x="204" y="152"/>
                  </a:lnTo>
                  <a:lnTo>
                    <a:pt x="210" y="134"/>
                  </a:lnTo>
                  <a:lnTo>
                    <a:pt x="212" y="114"/>
                  </a:lnTo>
                  <a:lnTo>
                    <a:pt x="212" y="114"/>
                  </a:lnTo>
                  <a:lnTo>
                    <a:pt x="210" y="94"/>
                  </a:lnTo>
                  <a:lnTo>
                    <a:pt x="204" y="76"/>
                  </a:lnTo>
                  <a:lnTo>
                    <a:pt x="194" y="60"/>
                  </a:lnTo>
                  <a:lnTo>
                    <a:pt x="182" y="44"/>
                  </a:lnTo>
                  <a:lnTo>
                    <a:pt x="168" y="32"/>
                  </a:lnTo>
                  <a:lnTo>
                    <a:pt x="152" y="24"/>
                  </a:lnTo>
                  <a:lnTo>
                    <a:pt x="134" y="18"/>
                  </a:lnTo>
                  <a:lnTo>
                    <a:pt x="114" y="16"/>
                  </a:lnTo>
                  <a:lnTo>
                    <a:pt x="114" y="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3300413" y="5632450"/>
              <a:ext cx="158750" cy="158750"/>
            </a:xfrm>
            <a:custGeom>
              <a:avLst/>
              <a:gdLst>
                <a:gd name="T0" fmla="*/ 50 w 100"/>
                <a:gd name="T1" fmla="*/ 100 h 100"/>
                <a:gd name="T2" fmla="*/ 30 w 100"/>
                <a:gd name="T3" fmla="*/ 96 h 100"/>
                <a:gd name="T4" fmla="*/ 14 w 100"/>
                <a:gd name="T5" fmla="*/ 86 h 100"/>
                <a:gd name="T6" fmla="*/ 4 w 100"/>
                <a:gd name="T7" fmla="*/ 70 h 100"/>
                <a:gd name="T8" fmla="*/ 0 w 100"/>
                <a:gd name="T9" fmla="*/ 50 h 100"/>
                <a:gd name="T10" fmla="*/ 0 w 100"/>
                <a:gd name="T11" fmla="*/ 40 h 100"/>
                <a:gd name="T12" fmla="*/ 8 w 100"/>
                <a:gd name="T13" fmla="*/ 22 h 100"/>
                <a:gd name="T14" fmla="*/ 22 w 100"/>
                <a:gd name="T15" fmla="*/ 10 h 100"/>
                <a:gd name="T16" fmla="*/ 40 w 100"/>
                <a:gd name="T17" fmla="*/ 2 h 100"/>
                <a:gd name="T18" fmla="*/ 50 w 100"/>
                <a:gd name="T19" fmla="*/ 0 h 100"/>
                <a:gd name="T20" fmla="*/ 70 w 100"/>
                <a:gd name="T21" fmla="*/ 4 h 100"/>
                <a:gd name="T22" fmla="*/ 86 w 100"/>
                <a:gd name="T23" fmla="*/ 16 h 100"/>
                <a:gd name="T24" fmla="*/ 96 w 100"/>
                <a:gd name="T25" fmla="*/ 32 h 100"/>
                <a:gd name="T26" fmla="*/ 100 w 100"/>
                <a:gd name="T27" fmla="*/ 50 h 100"/>
                <a:gd name="T28" fmla="*/ 100 w 100"/>
                <a:gd name="T29" fmla="*/ 60 h 100"/>
                <a:gd name="T30" fmla="*/ 92 w 100"/>
                <a:gd name="T31" fmla="*/ 78 h 100"/>
                <a:gd name="T32" fmla="*/ 78 w 100"/>
                <a:gd name="T33" fmla="*/ 92 h 100"/>
                <a:gd name="T34" fmla="*/ 60 w 100"/>
                <a:gd name="T35" fmla="*/ 100 h 100"/>
                <a:gd name="T36" fmla="*/ 50 w 100"/>
                <a:gd name="T37" fmla="*/ 100 h 100"/>
                <a:gd name="T38" fmla="*/ 50 w 100"/>
                <a:gd name="T39" fmla="*/ 18 h 100"/>
                <a:gd name="T40" fmla="*/ 38 w 100"/>
                <a:gd name="T41" fmla="*/ 20 h 100"/>
                <a:gd name="T42" fmla="*/ 26 w 100"/>
                <a:gd name="T43" fmla="*/ 28 h 100"/>
                <a:gd name="T44" fmla="*/ 20 w 100"/>
                <a:gd name="T45" fmla="*/ 38 h 100"/>
                <a:gd name="T46" fmla="*/ 16 w 100"/>
                <a:gd name="T47" fmla="*/ 50 h 100"/>
                <a:gd name="T48" fmla="*/ 18 w 100"/>
                <a:gd name="T49" fmla="*/ 58 h 100"/>
                <a:gd name="T50" fmla="*/ 22 w 100"/>
                <a:gd name="T51" fmla="*/ 70 h 100"/>
                <a:gd name="T52" fmla="*/ 32 w 100"/>
                <a:gd name="T53" fmla="*/ 78 h 100"/>
                <a:gd name="T54" fmla="*/ 44 w 100"/>
                <a:gd name="T55" fmla="*/ 84 h 100"/>
                <a:gd name="T56" fmla="*/ 50 w 100"/>
                <a:gd name="T57" fmla="*/ 84 h 100"/>
                <a:gd name="T58" fmla="*/ 62 w 100"/>
                <a:gd name="T59" fmla="*/ 82 h 100"/>
                <a:gd name="T60" fmla="*/ 74 w 100"/>
                <a:gd name="T61" fmla="*/ 74 h 100"/>
                <a:gd name="T62" fmla="*/ 80 w 100"/>
                <a:gd name="T63" fmla="*/ 64 h 100"/>
                <a:gd name="T64" fmla="*/ 82 w 100"/>
                <a:gd name="T65" fmla="*/ 50 h 100"/>
                <a:gd name="T66" fmla="*/ 82 w 100"/>
                <a:gd name="T67" fmla="*/ 44 h 100"/>
                <a:gd name="T68" fmla="*/ 78 w 100"/>
                <a:gd name="T69" fmla="*/ 32 h 100"/>
                <a:gd name="T70" fmla="*/ 68 w 100"/>
                <a:gd name="T71" fmla="*/ 24 h 100"/>
                <a:gd name="T72" fmla="*/ 56 w 100"/>
                <a:gd name="T73" fmla="*/ 18 h 100"/>
                <a:gd name="T74" fmla="*/ 50 w 100"/>
                <a:gd name="T75" fmla="*/ 1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lnTo>
                    <a:pt x="50" y="100"/>
                  </a:lnTo>
                  <a:lnTo>
                    <a:pt x="40" y="100"/>
                  </a:lnTo>
                  <a:lnTo>
                    <a:pt x="30" y="96"/>
                  </a:lnTo>
                  <a:lnTo>
                    <a:pt x="22" y="92"/>
                  </a:lnTo>
                  <a:lnTo>
                    <a:pt x="14" y="86"/>
                  </a:lnTo>
                  <a:lnTo>
                    <a:pt x="8" y="78"/>
                  </a:lnTo>
                  <a:lnTo>
                    <a:pt x="4" y="70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10"/>
                  </a:lnTo>
                  <a:lnTo>
                    <a:pt x="30" y="4"/>
                  </a:lnTo>
                  <a:lnTo>
                    <a:pt x="40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2"/>
                  </a:lnTo>
                  <a:lnTo>
                    <a:pt x="70" y="4"/>
                  </a:lnTo>
                  <a:lnTo>
                    <a:pt x="78" y="10"/>
                  </a:lnTo>
                  <a:lnTo>
                    <a:pt x="86" y="16"/>
                  </a:lnTo>
                  <a:lnTo>
                    <a:pt x="92" y="22"/>
                  </a:lnTo>
                  <a:lnTo>
                    <a:pt x="96" y="32"/>
                  </a:lnTo>
                  <a:lnTo>
                    <a:pt x="100" y="4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0" y="60"/>
                  </a:lnTo>
                  <a:lnTo>
                    <a:pt x="96" y="70"/>
                  </a:lnTo>
                  <a:lnTo>
                    <a:pt x="92" y="78"/>
                  </a:lnTo>
                  <a:lnTo>
                    <a:pt x="86" y="86"/>
                  </a:lnTo>
                  <a:lnTo>
                    <a:pt x="78" y="92"/>
                  </a:lnTo>
                  <a:lnTo>
                    <a:pt x="70" y="96"/>
                  </a:lnTo>
                  <a:lnTo>
                    <a:pt x="60" y="100"/>
                  </a:lnTo>
                  <a:lnTo>
                    <a:pt x="50" y="100"/>
                  </a:lnTo>
                  <a:lnTo>
                    <a:pt x="50" y="100"/>
                  </a:lnTo>
                  <a:close/>
                  <a:moveTo>
                    <a:pt x="50" y="18"/>
                  </a:moveTo>
                  <a:lnTo>
                    <a:pt x="50" y="18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2" y="24"/>
                  </a:lnTo>
                  <a:lnTo>
                    <a:pt x="26" y="28"/>
                  </a:lnTo>
                  <a:lnTo>
                    <a:pt x="22" y="32"/>
                  </a:lnTo>
                  <a:lnTo>
                    <a:pt x="20" y="38"/>
                  </a:lnTo>
                  <a:lnTo>
                    <a:pt x="18" y="44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8"/>
                  </a:lnTo>
                  <a:lnTo>
                    <a:pt x="20" y="64"/>
                  </a:lnTo>
                  <a:lnTo>
                    <a:pt x="22" y="70"/>
                  </a:lnTo>
                  <a:lnTo>
                    <a:pt x="26" y="74"/>
                  </a:lnTo>
                  <a:lnTo>
                    <a:pt x="32" y="78"/>
                  </a:lnTo>
                  <a:lnTo>
                    <a:pt x="38" y="82"/>
                  </a:lnTo>
                  <a:lnTo>
                    <a:pt x="44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6" y="84"/>
                  </a:lnTo>
                  <a:lnTo>
                    <a:pt x="62" y="82"/>
                  </a:lnTo>
                  <a:lnTo>
                    <a:pt x="68" y="78"/>
                  </a:lnTo>
                  <a:lnTo>
                    <a:pt x="74" y="74"/>
                  </a:lnTo>
                  <a:lnTo>
                    <a:pt x="78" y="70"/>
                  </a:lnTo>
                  <a:lnTo>
                    <a:pt x="80" y="64"/>
                  </a:lnTo>
                  <a:lnTo>
                    <a:pt x="82" y="5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44"/>
                  </a:lnTo>
                  <a:lnTo>
                    <a:pt x="80" y="38"/>
                  </a:lnTo>
                  <a:lnTo>
                    <a:pt x="78" y="32"/>
                  </a:lnTo>
                  <a:lnTo>
                    <a:pt x="74" y="28"/>
                  </a:lnTo>
                  <a:lnTo>
                    <a:pt x="68" y="24"/>
                  </a:lnTo>
                  <a:lnTo>
                    <a:pt x="62" y="20"/>
                  </a:lnTo>
                  <a:lnTo>
                    <a:pt x="56" y="18"/>
                  </a:lnTo>
                  <a:lnTo>
                    <a:pt x="50" y="18"/>
                  </a:lnTo>
                  <a:lnTo>
                    <a:pt x="50" y="1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840163" y="5022850"/>
              <a:ext cx="279400" cy="746125"/>
            </a:xfrm>
            <a:custGeom>
              <a:avLst/>
              <a:gdLst>
                <a:gd name="T0" fmla="*/ 8 w 176"/>
                <a:gd name="T1" fmla="*/ 470 h 470"/>
                <a:gd name="T2" fmla="*/ 8 w 176"/>
                <a:gd name="T3" fmla="*/ 470 h 470"/>
                <a:gd name="T4" fmla="*/ 6 w 176"/>
                <a:gd name="T5" fmla="*/ 470 h 470"/>
                <a:gd name="T6" fmla="*/ 2 w 176"/>
                <a:gd name="T7" fmla="*/ 468 h 470"/>
                <a:gd name="T8" fmla="*/ 2 w 176"/>
                <a:gd name="T9" fmla="*/ 468 h 470"/>
                <a:gd name="T10" fmla="*/ 0 w 176"/>
                <a:gd name="T11" fmla="*/ 466 h 470"/>
                <a:gd name="T12" fmla="*/ 0 w 176"/>
                <a:gd name="T13" fmla="*/ 462 h 470"/>
                <a:gd name="T14" fmla="*/ 0 w 176"/>
                <a:gd name="T15" fmla="*/ 458 h 470"/>
                <a:gd name="T16" fmla="*/ 2 w 176"/>
                <a:gd name="T17" fmla="*/ 456 h 470"/>
                <a:gd name="T18" fmla="*/ 2 w 176"/>
                <a:gd name="T19" fmla="*/ 456 h 470"/>
                <a:gd name="T20" fmla="*/ 34 w 176"/>
                <a:gd name="T21" fmla="*/ 420 h 470"/>
                <a:gd name="T22" fmla="*/ 60 w 176"/>
                <a:gd name="T23" fmla="*/ 382 h 470"/>
                <a:gd name="T24" fmla="*/ 84 w 176"/>
                <a:gd name="T25" fmla="*/ 342 h 470"/>
                <a:gd name="T26" fmla="*/ 106 w 176"/>
                <a:gd name="T27" fmla="*/ 302 h 470"/>
                <a:gd name="T28" fmla="*/ 124 w 176"/>
                <a:gd name="T29" fmla="*/ 258 h 470"/>
                <a:gd name="T30" fmla="*/ 138 w 176"/>
                <a:gd name="T31" fmla="*/ 214 h 470"/>
                <a:gd name="T32" fmla="*/ 148 w 176"/>
                <a:gd name="T33" fmla="*/ 168 h 470"/>
                <a:gd name="T34" fmla="*/ 154 w 176"/>
                <a:gd name="T35" fmla="*/ 122 h 470"/>
                <a:gd name="T36" fmla="*/ 154 w 176"/>
                <a:gd name="T37" fmla="*/ 122 h 470"/>
                <a:gd name="T38" fmla="*/ 158 w 176"/>
                <a:gd name="T39" fmla="*/ 84 h 470"/>
                <a:gd name="T40" fmla="*/ 158 w 176"/>
                <a:gd name="T41" fmla="*/ 48 h 470"/>
                <a:gd name="T42" fmla="*/ 158 w 176"/>
                <a:gd name="T43" fmla="*/ 28 h 470"/>
                <a:gd name="T44" fmla="*/ 156 w 176"/>
                <a:gd name="T45" fmla="*/ 10 h 470"/>
                <a:gd name="T46" fmla="*/ 156 w 176"/>
                <a:gd name="T47" fmla="*/ 10 h 470"/>
                <a:gd name="T48" fmla="*/ 156 w 176"/>
                <a:gd name="T49" fmla="*/ 6 h 470"/>
                <a:gd name="T50" fmla="*/ 158 w 176"/>
                <a:gd name="T51" fmla="*/ 4 h 470"/>
                <a:gd name="T52" fmla="*/ 160 w 176"/>
                <a:gd name="T53" fmla="*/ 2 h 470"/>
                <a:gd name="T54" fmla="*/ 164 w 176"/>
                <a:gd name="T55" fmla="*/ 0 h 470"/>
                <a:gd name="T56" fmla="*/ 164 w 176"/>
                <a:gd name="T57" fmla="*/ 0 h 470"/>
                <a:gd name="T58" fmla="*/ 166 w 176"/>
                <a:gd name="T59" fmla="*/ 0 h 470"/>
                <a:gd name="T60" fmla="*/ 170 w 176"/>
                <a:gd name="T61" fmla="*/ 2 h 470"/>
                <a:gd name="T62" fmla="*/ 172 w 176"/>
                <a:gd name="T63" fmla="*/ 4 h 470"/>
                <a:gd name="T64" fmla="*/ 172 w 176"/>
                <a:gd name="T65" fmla="*/ 8 h 470"/>
                <a:gd name="T66" fmla="*/ 172 w 176"/>
                <a:gd name="T67" fmla="*/ 8 h 470"/>
                <a:gd name="T68" fmla="*/ 176 w 176"/>
                <a:gd name="T69" fmla="*/ 28 h 470"/>
                <a:gd name="T70" fmla="*/ 176 w 176"/>
                <a:gd name="T71" fmla="*/ 48 h 470"/>
                <a:gd name="T72" fmla="*/ 176 w 176"/>
                <a:gd name="T73" fmla="*/ 84 h 470"/>
                <a:gd name="T74" fmla="*/ 174 w 176"/>
                <a:gd name="T75" fmla="*/ 112 h 470"/>
                <a:gd name="T76" fmla="*/ 172 w 176"/>
                <a:gd name="T77" fmla="*/ 124 h 470"/>
                <a:gd name="T78" fmla="*/ 172 w 176"/>
                <a:gd name="T79" fmla="*/ 124 h 470"/>
                <a:gd name="T80" fmla="*/ 164 w 176"/>
                <a:gd name="T81" fmla="*/ 172 h 470"/>
                <a:gd name="T82" fmla="*/ 154 w 176"/>
                <a:gd name="T83" fmla="*/ 220 h 470"/>
                <a:gd name="T84" fmla="*/ 140 w 176"/>
                <a:gd name="T85" fmla="*/ 264 h 470"/>
                <a:gd name="T86" fmla="*/ 122 w 176"/>
                <a:gd name="T87" fmla="*/ 308 h 470"/>
                <a:gd name="T88" fmla="*/ 100 w 176"/>
                <a:gd name="T89" fmla="*/ 350 h 470"/>
                <a:gd name="T90" fmla="*/ 74 w 176"/>
                <a:gd name="T91" fmla="*/ 392 h 470"/>
                <a:gd name="T92" fmla="*/ 46 w 176"/>
                <a:gd name="T93" fmla="*/ 430 h 470"/>
                <a:gd name="T94" fmla="*/ 16 w 176"/>
                <a:gd name="T95" fmla="*/ 468 h 470"/>
                <a:gd name="T96" fmla="*/ 16 w 176"/>
                <a:gd name="T97" fmla="*/ 468 h 470"/>
                <a:gd name="T98" fmla="*/ 12 w 176"/>
                <a:gd name="T99" fmla="*/ 470 h 470"/>
                <a:gd name="T100" fmla="*/ 8 w 176"/>
                <a:gd name="T101" fmla="*/ 470 h 470"/>
                <a:gd name="T102" fmla="*/ 8 w 176"/>
                <a:gd name="T103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6" h="470">
                  <a:moveTo>
                    <a:pt x="8" y="470"/>
                  </a:moveTo>
                  <a:lnTo>
                    <a:pt x="8" y="470"/>
                  </a:lnTo>
                  <a:lnTo>
                    <a:pt x="6" y="470"/>
                  </a:lnTo>
                  <a:lnTo>
                    <a:pt x="2" y="468"/>
                  </a:lnTo>
                  <a:lnTo>
                    <a:pt x="2" y="468"/>
                  </a:lnTo>
                  <a:lnTo>
                    <a:pt x="0" y="466"/>
                  </a:lnTo>
                  <a:lnTo>
                    <a:pt x="0" y="462"/>
                  </a:lnTo>
                  <a:lnTo>
                    <a:pt x="0" y="458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4" y="420"/>
                  </a:lnTo>
                  <a:lnTo>
                    <a:pt x="60" y="382"/>
                  </a:lnTo>
                  <a:lnTo>
                    <a:pt x="84" y="342"/>
                  </a:lnTo>
                  <a:lnTo>
                    <a:pt x="106" y="302"/>
                  </a:lnTo>
                  <a:lnTo>
                    <a:pt x="124" y="258"/>
                  </a:lnTo>
                  <a:lnTo>
                    <a:pt x="138" y="214"/>
                  </a:lnTo>
                  <a:lnTo>
                    <a:pt x="148" y="168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8" y="84"/>
                  </a:lnTo>
                  <a:lnTo>
                    <a:pt x="158" y="48"/>
                  </a:lnTo>
                  <a:lnTo>
                    <a:pt x="158" y="28"/>
                  </a:lnTo>
                  <a:lnTo>
                    <a:pt x="156" y="10"/>
                  </a:lnTo>
                  <a:lnTo>
                    <a:pt x="156" y="10"/>
                  </a:lnTo>
                  <a:lnTo>
                    <a:pt x="156" y="6"/>
                  </a:lnTo>
                  <a:lnTo>
                    <a:pt x="158" y="4"/>
                  </a:lnTo>
                  <a:lnTo>
                    <a:pt x="160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70" y="2"/>
                  </a:lnTo>
                  <a:lnTo>
                    <a:pt x="172" y="4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6" y="28"/>
                  </a:lnTo>
                  <a:lnTo>
                    <a:pt x="176" y="48"/>
                  </a:lnTo>
                  <a:lnTo>
                    <a:pt x="176" y="84"/>
                  </a:lnTo>
                  <a:lnTo>
                    <a:pt x="174" y="112"/>
                  </a:lnTo>
                  <a:lnTo>
                    <a:pt x="172" y="124"/>
                  </a:lnTo>
                  <a:lnTo>
                    <a:pt x="172" y="124"/>
                  </a:lnTo>
                  <a:lnTo>
                    <a:pt x="164" y="172"/>
                  </a:lnTo>
                  <a:lnTo>
                    <a:pt x="154" y="220"/>
                  </a:lnTo>
                  <a:lnTo>
                    <a:pt x="140" y="264"/>
                  </a:lnTo>
                  <a:lnTo>
                    <a:pt x="122" y="308"/>
                  </a:lnTo>
                  <a:lnTo>
                    <a:pt x="100" y="350"/>
                  </a:lnTo>
                  <a:lnTo>
                    <a:pt x="74" y="392"/>
                  </a:lnTo>
                  <a:lnTo>
                    <a:pt x="46" y="430"/>
                  </a:lnTo>
                  <a:lnTo>
                    <a:pt x="16" y="468"/>
                  </a:lnTo>
                  <a:lnTo>
                    <a:pt x="16" y="468"/>
                  </a:lnTo>
                  <a:lnTo>
                    <a:pt x="12" y="470"/>
                  </a:lnTo>
                  <a:lnTo>
                    <a:pt x="8" y="470"/>
                  </a:lnTo>
                  <a:lnTo>
                    <a:pt x="8" y="470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2205038" y="5162550"/>
              <a:ext cx="1139825" cy="911225"/>
            </a:xfrm>
            <a:custGeom>
              <a:avLst/>
              <a:gdLst>
                <a:gd name="T0" fmla="*/ 602 w 718"/>
                <a:gd name="T1" fmla="*/ 574 h 574"/>
                <a:gd name="T2" fmla="*/ 542 w 718"/>
                <a:gd name="T3" fmla="*/ 570 h 574"/>
                <a:gd name="T4" fmla="*/ 486 w 718"/>
                <a:gd name="T5" fmla="*/ 562 h 574"/>
                <a:gd name="T6" fmla="*/ 430 w 718"/>
                <a:gd name="T7" fmla="*/ 548 h 574"/>
                <a:gd name="T8" fmla="*/ 376 w 718"/>
                <a:gd name="T9" fmla="*/ 530 h 574"/>
                <a:gd name="T10" fmla="*/ 326 w 718"/>
                <a:gd name="T11" fmla="*/ 506 h 574"/>
                <a:gd name="T12" fmla="*/ 278 w 718"/>
                <a:gd name="T13" fmla="*/ 478 h 574"/>
                <a:gd name="T14" fmla="*/ 232 w 718"/>
                <a:gd name="T15" fmla="*/ 446 h 574"/>
                <a:gd name="T16" fmla="*/ 190 w 718"/>
                <a:gd name="T17" fmla="*/ 410 h 574"/>
                <a:gd name="T18" fmla="*/ 150 w 718"/>
                <a:gd name="T19" fmla="*/ 370 h 574"/>
                <a:gd name="T20" fmla="*/ 116 w 718"/>
                <a:gd name="T21" fmla="*/ 328 h 574"/>
                <a:gd name="T22" fmla="*/ 84 w 718"/>
                <a:gd name="T23" fmla="*/ 280 h 574"/>
                <a:gd name="T24" fmla="*/ 58 w 718"/>
                <a:gd name="T25" fmla="*/ 232 h 574"/>
                <a:gd name="T26" fmla="*/ 36 w 718"/>
                <a:gd name="T27" fmla="*/ 180 h 574"/>
                <a:gd name="T28" fmla="*/ 18 w 718"/>
                <a:gd name="T29" fmla="*/ 124 h 574"/>
                <a:gd name="T30" fmla="*/ 6 w 718"/>
                <a:gd name="T31" fmla="*/ 68 h 574"/>
                <a:gd name="T32" fmla="*/ 0 w 718"/>
                <a:gd name="T33" fmla="*/ 10 h 574"/>
                <a:gd name="T34" fmla="*/ 0 w 718"/>
                <a:gd name="T35" fmla="*/ 6 h 574"/>
                <a:gd name="T36" fmla="*/ 4 w 718"/>
                <a:gd name="T37" fmla="*/ 2 h 574"/>
                <a:gd name="T38" fmla="*/ 8 w 718"/>
                <a:gd name="T39" fmla="*/ 0 h 574"/>
                <a:gd name="T40" fmla="*/ 14 w 718"/>
                <a:gd name="T41" fmla="*/ 2 h 574"/>
                <a:gd name="T42" fmla="*/ 16 w 718"/>
                <a:gd name="T43" fmla="*/ 8 h 574"/>
                <a:gd name="T44" fmla="*/ 20 w 718"/>
                <a:gd name="T45" fmla="*/ 38 h 574"/>
                <a:gd name="T46" fmla="*/ 28 w 718"/>
                <a:gd name="T47" fmla="*/ 94 h 574"/>
                <a:gd name="T48" fmla="*/ 42 w 718"/>
                <a:gd name="T49" fmla="*/ 148 h 574"/>
                <a:gd name="T50" fmla="*/ 62 w 718"/>
                <a:gd name="T51" fmla="*/ 198 h 574"/>
                <a:gd name="T52" fmla="*/ 86 w 718"/>
                <a:gd name="T53" fmla="*/ 248 h 574"/>
                <a:gd name="T54" fmla="*/ 114 w 718"/>
                <a:gd name="T55" fmla="*/ 294 h 574"/>
                <a:gd name="T56" fmla="*/ 146 w 718"/>
                <a:gd name="T57" fmla="*/ 338 h 574"/>
                <a:gd name="T58" fmla="*/ 182 w 718"/>
                <a:gd name="T59" fmla="*/ 378 h 574"/>
                <a:gd name="T60" fmla="*/ 222 w 718"/>
                <a:gd name="T61" fmla="*/ 416 h 574"/>
                <a:gd name="T62" fmla="*/ 264 w 718"/>
                <a:gd name="T63" fmla="*/ 450 h 574"/>
                <a:gd name="T64" fmla="*/ 310 w 718"/>
                <a:gd name="T65" fmla="*/ 478 h 574"/>
                <a:gd name="T66" fmla="*/ 358 w 718"/>
                <a:gd name="T67" fmla="*/ 504 h 574"/>
                <a:gd name="T68" fmla="*/ 408 w 718"/>
                <a:gd name="T69" fmla="*/ 524 h 574"/>
                <a:gd name="T70" fmla="*/ 462 w 718"/>
                <a:gd name="T71" fmla="*/ 540 h 574"/>
                <a:gd name="T72" fmla="*/ 516 w 718"/>
                <a:gd name="T73" fmla="*/ 550 h 574"/>
                <a:gd name="T74" fmla="*/ 572 w 718"/>
                <a:gd name="T75" fmla="*/ 556 h 574"/>
                <a:gd name="T76" fmla="*/ 602 w 718"/>
                <a:gd name="T77" fmla="*/ 556 h 574"/>
                <a:gd name="T78" fmla="*/ 708 w 718"/>
                <a:gd name="T79" fmla="*/ 548 h 574"/>
                <a:gd name="T80" fmla="*/ 710 w 718"/>
                <a:gd name="T81" fmla="*/ 548 h 574"/>
                <a:gd name="T82" fmla="*/ 716 w 718"/>
                <a:gd name="T83" fmla="*/ 550 h 574"/>
                <a:gd name="T84" fmla="*/ 718 w 718"/>
                <a:gd name="T85" fmla="*/ 554 h 574"/>
                <a:gd name="T86" fmla="*/ 716 w 718"/>
                <a:gd name="T87" fmla="*/ 560 h 574"/>
                <a:gd name="T88" fmla="*/ 710 w 718"/>
                <a:gd name="T89" fmla="*/ 564 h 574"/>
                <a:gd name="T90" fmla="*/ 684 w 718"/>
                <a:gd name="T91" fmla="*/ 568 h 574"/>
                <a:gd name="T92" fmla="*/ 630 w 718"/>
                <a:gd name="T93" fmla="*/ 574 h 574"/>
                <a:gd name="T94" fmla="*/ 602 w 718"/>
                <a:gd name="T95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8" h="574">
                  <a:moveTo>
                    <a:pt x="602" y="574"/>
                  </a:moveTo>
                  <a:lnTo>
                    <a:pt x="602" y="574"/>
                  </a:lnTo>
                  <a:lnTo>
                    <a:pt x="572" y="574"/>
                  </a:lnTo>
                  <a:lnTo>
                    <a:pt x="542" y="570"/>
                  </a:lnTo>
                  <a:lnTo>
                    <a:pt x="514" y="568"/>
                  </a:lnTo>
                  <a:lnTo>
                    <a:pt x="486" y="562"/>
                  </a:lnTo>
                  <a:lnTo>
                    <a:pt x="458" y="556"/>
                  </a:lnTo>
                  <a:lnTo>
                    <a:pt x="430" y="548"/>
                  </a:lnTo>
                  <a:lnTo>
                    <a:pt x="404" y="540"/>
                  </a:lnTo>
                  <a:lnTo>
                    <a:pt x="376" y="530"/>
                  </a:lnTo>
                  <a:lnTo>
                    <a:pt x="350" y="518"/>
                  </a:lnTo>
                  <a:lnTo>
                    <a:pt x="326" y="506"/>
                  </a:lnTo>
                  <a:lnTo>
                    <a:pt x="300" y="494"/>
                  </a:lnTo>
                  <a:lnTo>
                    <a:pt x="278" y="478"/>
                  </a:lnTo>
                  <a:lnTo>
                    <a:pt x="254" y="464"/>
                  </a:lnTo>
                  <a:lnTo>
                    <a:pt x="232" y="446"/>
                  </a:lnTo>
                  <a:lnTo>
                    <a:pt x="210" y="428"/>
                  </a:lnTo>
                  <a:lnTo>
                    <a:pt x="190" y="410"/>
                  </a:lnTo>
                  <a:lnTo>
                    <a:pt x="170" y="390"/>
                  </a:lnTo>
                  <a:lnTo>
                    <a:pt x="150" y="370"/>
                  </a:lnTo>
                  <a:lnTo>
                    <a:pt x="132" y="350"/>
                  </a:lnTo>
                  <a:lnTo>
                    <a:pt x="116" y="328"/>
                  </a:lnTo>
                  <a:lnTo>
                    <a:pt x="100" y="304"/>
                  </a:lnTo>
                  <a:lnTo>
                    <a:pt x="84" y="280"/>
                  </a:lnTo>
                  <a:lnTo>
                    <a:pt x="70" y="256"/>
                  </a:lnTo>
                  <a:lnTo>
                    <a:pt x="58" y="232"/>
                  </a:lnTo>
                  <a:lnTo>
                    <a:pt x="46" y="206"/>
                  </a:lnTo>
                  <a:lnTo>
                    <a:pt x="36" y="180"/>
                  </a:lnTo>
                  <a:lnTo>
                    <a:pt x="26" y="152"/>
                  </a:lnTo>
                  <a:lnTo>
                    <a:pt x="18" y="124"/>
                  </a:lnTo>
                  <a:lnTo>
                    <a:pt x="12" y="96"/>
                  </a:lnTo>
                  <a:lnTo>
                    <a:pt x="6" y="68"/>
                  </a:lnTo>
                  <a:lnTo>
                    <a:pt x="2" y="4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38"/>
                  </a:lnTo>
                  <a:lnTo>
                    <a:pt x="24" y="66"/>
                  </a:lnTo>
                  <a:lnTo>
                    <a:pt x="28" y="94"/>
                  </a:lnTo>
                  <a:lnTo>
                    <a:pt x="34" y="120"/>
                  </a:lnTo>
                  <a:lnTo>
                    <a:pt x="42" y="148"/>
                  </a:lnTo>
                  <a:lnTo>
                    <a:pt x="52" y="174"/>
                  </a:lnTo>
                  <a:lnTo>
                    <a:pt x="62" y="198"/>
                  </a:lnTo>
                  <a:lnTo>
                    <a:pt x="74" y="224"/>
                  </a:lnTo>
                  <a:lnTo>
                    <a:pt x="86" y="248"/>
                  </a:lnTo>
                  <a:lnTo>
                    <a:pt x="100" y="272"/>
                  </a:lnTo>
                  <a:lnTo>
                    <a:pt x="114" y="294"/>
                  </a:lnTo>
                  <a:lnTo>
                    <a:pt x="130" y="316"/>
                  </a:lnTo>
                  <a:lnTo>
                    <a:pt x="146" y="338"/>
                  </a:lnTo>
                  <a:lnTo>
                    <a:pt x="164" y="360"/>
                  </a:lnTo>
                  <a:lnTo>
                    <a:pt x="182" y="378"/>
                  </a:lnTo>
                  <a:lnTo>
                    <a:pt x="200" y="398"/>
                  </a:lnTo>
                  <a:lnTo>
                    <a:pt x="222" y="416"/>
                  </a:lnTo>
                  <a:lnTo>
                    <a:pt x="242" y="432"/>
                  </a:lnTo>
                  <a:lnTo>
                    <a:pt x="264" y="450"/>
                  </a:lnTo>
                  <a:lnTo>
                    <a:pt x="286" y="464"/>
                  </a:lnTo>
                  <a:lnTo>
                    <a:pt x="310" y="478"/>
                  </a:lnTo>
                  <a:lnTo>
                    <a:pt x="334" y="492"/>
                  </a:lnTo>
                  <a:lnTo>
                    <a:pt x="358" y="504"/>
                  </a:lnTo>
                  <a:lnTo>
                    <a:pt x="384" y="514"/>
                  </a:lnTo>
                  <a:lnTo>
                    <a:pt x="408" y="524"/>
                  </a:lnTo>
                  <a:lnTo>
                    <a:pt x="434" y="532"/>
                  </a:lnTo>
                  <a:lnTo>
                    <a:pt x="462" y="540"/>
                  </a:lnTo>
                  <a:lnTo>
                    <a:pt x="488" y="546"/>
                  </a:lnTo>
                  <a:lnTo>
                    <a:pt x="516" y="550"/>
                  </a:lnTo>
                  <a:lnTo>
                    <a:pt x="544" y="554"/>
                  </a:lnTo>
                  <a:lnTo>
                    <a:pt x="572" y="556"/>
                  </a:lnTo>
                  <a:lnTo>
                    <a:pt x="602" y="556"/>
                  </a:lnTo>
                  <a:lnTo>
                    <a:pt x="602" y="556"/>
                  </a:lnTo>
                  <a:lnTo>
                    <a:pt x="654" y="554"/>
                  </a:lnTo>
                  <a:lnTo>
                    <a:pt x="708" y="548"/>
                  </a:lnTo>
                  <a:lnTo>
                    <a:pt x="708" y="548"/>
                  </a:lnTo>
                  <a:lnTo>
                    <a:pt x="710" y="548"/>
                  </a:lnTo>
                  <a:lnTo>
                    <a:pt x="714" y="548"/>
                  </a:lnTo>
                  <a:lnTo>
                    <a:pt x="716" y="550"/>
                  </a:lnTo>
                  <a:lnTo>
                    <a:pt x="718" y="554"/>
                  </a:lnTo>
                  <a:lnTo>
                    <a:pt x="718" y="554"/>
                  </a:lnTo>
                  <a:lnTo>
                    <a:pt x="718" y="558"/>
                  </a:lnTo>
                  <a:lnTo>
                    <a:pt x="716" y="560"/>
                  </a:lnTo>
                  <a:lnTo>
                    <a:pt x="714" y="562"/>
                  </a:lnTo>
                  <a:lnTo>
                    <a:pt x="710" y="564"/>
                  </a:lnTo>
                  <a:lnTo>
                    <a:pt x="710" y="564"/>
                  </a:lnTo>
                  <a:lnTo>
                    <a:pt x="684" y="568"/>
                  </a:lnTo>
                  <a:lnTo>
                    <a:pt x="656" y="572"/>
                  </a:lnTo>
                  <a:lnTo>
                    <a:pt x="630" y="574"/>
                  </a:lnTo>
                  <a:lnTo>
                    <a:pt x="602" y="574"/>
                  </a:lnTo>
                  <a:lnTo>
                    <a:pt x="602" y="57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3316288" y="6013450"/>
              <a:ext cx="98425" cy="44450"/>
            </a:xfrm>
            <a:custGeom>
              <a:avLst/>
              <a:gdLst>
                <a:gd name="T0" fmla="*/ 8 w 62"/>
                <a:gd name="T1" fmla="*/ 28 h 28"/>
                <a:gd name="T2" fmla="*/ 8 w 62"/>
                <a:gd name="T3" fmla="*/ 28 h 28"/>
                <a:gd name="T4" fmla="*/ 4 w 62"/>
                <a:gd name="T5" fmla="*/ 26 h 28"/>
                <a:gd name="T6" fmla="*/ 0 w 62"/>
                <a:gd name="T7" fmla="*/ 22 h 28"/>
                <a:gd name="T8" fmla="*/ 0 w 62"/>
                <a:gd name="T9" fmla="*/ 22 h 28"/>
                <a:gd name="T10" fmla="*/ 0 w 62"/>
                <a:gd name="T11" fmla="*/ 18 h 28"/>
                <a:gd name="T12" fmla="*/ 2 w 62"/>
                <a:gd name="T13" fmla="*/ 14 h 28"/>
                <a:gd name="T14" fmla="*/ 4 w 62"/>
                <a:gd name="T15" fmla="*/ 12 h 28"/>
                <a:gd name="T16" fmla="*/ 8 w 62"/>
                <a:gd name="T17" fmla="*/ 12 h 28"/>
                <a:gd name="T18" fmla="*/ 8 w 62"/>
                <a:gd name="T19" fmla="*/ 12 h 28"/>
                <a:gd name="T20" fmla="*/ 52 w 62"/>
                <a:gd name="T21" fmla="*/ 2 h 28"/>
                <a:gd name="T22" fmla="*/ 52 w 62"/>
                <a:gd name="T23" fmla="*/ 2 h 28"/>
                <a:gd name="T24" fmla="*/ 56 w 62"/>
                <a:gd name="T25" fmla="*/ 0 h 28"/>
                <a:gd name="T26" fmla="*/ 58 w 62"/>
                <a:gd name="T27" fmla="*/ 2 h 28"/>
                <a:gd name="T28" fmla="*/ 62 w 62"/>
                <a:gd name="T29" fmla="*/ 4 h 28"/>
                <a:gd name="T30" fmla="*/ 62 w 62"/>
                <a:gd name="T31" fmla="*/ 8 h 28"/>
                <a:gd name="T32" fmla="*/ 62 w 62"/>
                <a:gd name="T33" fmla="*/ 8 h 28"/>
                <a:gd name="T34" fmla="*/ 62 w 62"/>
                <a:gd name="T35" fmla="*/ 10 h 28"/>
                <a:gd name="T36" fmla="*/ 62 w 62"/>
                <a:gd name="T37" fmla="*/ 14 h 28"/>
                <a:gd name="T38" fmla="*/ 60 w 62"/>
                <a:gd name="T39" fmla="*/ 16 h 28"/>
                <a:gd name="T40" fmla="*/ 56 w 62"/>
                <a:gd name="T41" fmla="*/ 18 h 28"/>
                <a:gd name="T42" fmla="*/ 56 w 62"/>
                <a:gd name="T43" fmla="*/ 18 h 28"/>
                <a:gd name="T44" fmla="*/ 10 w 62"/>
                <a:gd name="T45" fmla="*/ 28 h 28"/>
                <a:gd name="T46" fmla="*/ 10 w 62"/>
                <a:gd name="T47" fmla="*/ 28 h 28"/>
                <a:gd name="T48" fmla="*/ 8 w 62"/>
                <a:gd name="T49" fmla="*/ 28 h 28"/>
                <a:gd name="T50" fmla="*/ 8 w 62"/>
                <a:gd name="T5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28">
                  <a:moveTo>
                    <a:pt x="8" y="28"/>
                  </a:moveTo>
                  <a:lnTo>
                    <a:pt x="8" y="28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2" y="14"/>
                  </a:lnTo>
                  <a:lnTo>
                    <a:pt x="60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28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3786188" y="5734050"/>
              <a:ext cx="88900" cy="88900"/>
            </a:xfrm>
            <a:custGeom>
              <a:avLst/>
              <a:gdLst>
                <a:gd name="T0" fmla="*/ 14 w 56"/>
                <a:gd name="T1" fmla="*/ 54 h 56"/>
                <a:gd name="T2" fmla="*/ 14 w 56"/>
                <a:gd name="T3" fmla="*/ 54 h 56"/>
                <a:gd name="T4" fmla="*/ 8 w 56"/>
                <a:gd name="T5" fmla="*/ 56 h 56"/>
                <a:gd name="T6" fmla="*/ 2 w 56"/>
                <a:gd name="T7" fmla="*/ 54 h 56"/>
                <a:gd name="T8" fmla="*/ 2 w 56"/>
                <a:gd name="T9" fmla="*/ 54 h 56"/>
                <a:gd name="T10" fmla="*/ 0 w 56"/>
                <a:gd name="T11" fmla="*/ 50 h 56"/>
                <a:gd name="T12" fmla="*/ 0 w 56"/>
                <a:gd name="T13" fmla="*/ 46 h 56"/>
                <a:gd name="T14" fmla="*/ 0 w 56"/>
                <a:gd name="T15" fmla="*/ 44 h 56"/>
                <a:gd name="T16" fmla="*/ 2 w 56"/>
                <a:gd name="T17" fmla="*/ 40 h 56"/>
                <a:gd name="T18" fmla="*/ 2 w 56"/>
                <a:gd name="T19" fmla="*/ 40 h 56"/>
                <a:gd name="T20" fmla="*/ 22 w 56"/>
                <a:gd name="T21" fmla="*/ 22 h 56"/>
                <a:gd name="T22" fmla="*/ 42 w 56"/>
                <a:gd name="T23" fmla="*/ 4 h 56"/>
                <a:gd name="T24" fmla="*/ 42 w 56"/>
                <a:gd name="T25" fmla="*/ 4 h 56"/>
                <a:gd name="T26" fmla="*/ 44 w 56"/>
                <a:gd name="T27" fmla="*/ 2 h 56"/>
                <a:gd name="T28" fmla="*/ 48 w 56"/>
                <a:gd name="T29" fmla="*/ 0 h 56"/>
                <a:gd name="T30" fmla="*/ 50 w 56"/>
                <a:gd name="T31" fmla="*/ 2 h 56"/>
                <a:gd name="T32" fmla="*/ 54 w 56"/>
                <a:gd name="T33" fmla="*/ 2 h 56"/>
                <a:gd name="T34" fmla="*/ 54 w 56"/>
                <a:gd name="T35" fmla="*/ 2 h 56"/>
                <a:gd name="T36" fmla="*/ 56 w 56"/>
                <a:gd name="T37" fmla="*/ 6 h 56"/>
                <a:gd name="T38" fmla="*/ 56 w 56"/>
                <a:gd name="T39" fmla="*/ 8 h 56"/>
                <a:gd name="T40" fmla="*/ 56 w 56"/>
                <a:gd name="T41" fmla="*/ 12 h 56"/>
                <a:gd name="T42" fmla="*/ 54 w 56"/>
                <a:gd name="T43" fmla="*/ 16 h 56"/>
                <a:gd name="T44" fmla="*/ 54 w 56"/>
                <a:gd name="T45" fmla="*/ 16 h 56"/>
                <a:gd name="T46" fmla="*/ 34 w 56"/>
                <a:gd name="T47" fmla="*/ 34 h 56"/>
                <a:gd name="T48" fmla="*/ 14 w 56"/>
                <a:gd name="T49" fmla="*/ 54 h 56"/>
                <a:gd name="T50" fmla="*/ 14 w 56"/>
                <a:gd name="T51" fmla="*/ 54 h 56"/>
                <a:gd name="T52" fmla="*/ 14 w 56"/>
                <a:gd name="T53" fmla="*/ 54 h 56"/>
                <a:gd name="T54" fmla="*/ 14 w 56"/>
                <a:gd name="T55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" h="56">
                  <a:moveTo>
                    <a:pt x="14" y="54"/>
                  </a:moveTo>
                  <a:lnTo>
                    <a:pt x="14" y="54"/>
                  </a:lnTo>
                  <a:lnTo>
                    <a:pt x="8" y="56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2" y="2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8" y="0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34" y="3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55863" y="4660900"/>
              <a:ext cx="876300" cy="1108075"/>
            </a:xfrm>
            <a:custGeom>
              <a:avLst/>
              <a:gdLst>
                <a:gd name="T0" fmla="*/ 428 w 552"/>
                <a:gd name="T1" fmla="*/ 698 h 698"/>
                <a:gd name="T2" fmla="*/ 342 w 552"/>
                <a:gd name="T3" fmla="*/ 690 h 698"/>
                <a:gd name="T4" fmla="*/ 262 w 552"/>
                <a:gd name="T5" fmla="*/ 666 h 698"/>
                <a:gd name="T6" fmla="*/ 188 w 552"/>
                <a:gd name="T7" fmla="*/ 626 h 698"/>
                <a:gd name="T8" fmla="*/ 124 w 552"/>
                <a:gd name="T9" fmla="*/ 574 h 698"/>
                <a:gd name="T10" fmla="*/ 72 w 552"/>
                <a:gd name="T11" fmla="*/ 512 h 698"/>
                <a:gd name="T12" fmla="*/ 32 w 552"/>
                <a:gd name="T13" fmla="*/ 440 h 698"/>
                <a:gd name="T14" fmla="*/ 8 w 552"/>
                <a:gd name="T15" fmla="*/ 360 h 698"/>
                <a:gd name="T16" fmla="*/ 0 w 552"/>
                <a:gd name="T17" fmla="*/ 276 h 698"/>
                <a:gd name="T18" fmla="*/ 0 w 552"/>
                <a:gd name="T19" fmla="*/ 238 h 698"/>
                <a:gd name="T20" fmla="*/ 14 w 552"/>
                <a:gd name="T21" fmla="*/ 166 h 698"/>
                <a:gd name="T22" fmla="*/ 40 w 552"/>
                <a:gd name="T23" fmla="*/ 96 h 698"/>
                <a:gd name="T24" fmla="*/ 76 w 552"/>
                <a:gd name="T25" fmla="*/ 32 h 698"/>
                <a:gd name="T26" fmla="*/ 100 w 552"/>
                <a:gd name="T27" fmla="*/ 4 h 698"/>
                <a:gd name="T28" fmla="*/ 106 w 552"/>
                <a:gd name="T29" fmla="*/ 0 h 698"/>
                <a:gd name="T30" fmla="*/ 112 w 552"/>
                <a:gd name="T31" fmla="*/ 2 h 698"/>
                <a:gd name="T32" fmla="*/ 114 w 552"/>
                <a:gd name="T33" fmla="*/ 4 h 698"/>
                <a:gd name="T34" fmla="*/ 114 w 552"/>
                <a:gd name="T35" fmla="*/ 12 h 698"/>
                <a:gd name="T36" fmla="*/ 112 w 552"/>
                <a:gd name="T37" fmla="*/ 14 h 698"/>
                <a:gd name="T38" fmla="*/ 72 w 552"/>
                <a:gd name="T39" fmla="*/ 72 h 698"/>
                <a:gd name="T40" fmla="*/ 42 w 552"/>
                <a:gd name="T41" fmla="*/ 136 h 698"/>
                <a:gd name="T42" fmla="*/ 22 w 552"/>
                <a:gd name="T43" fmla="*/ 204 h 698"/>
                <a:gd name="T44" fmla="*/ 16 w 552"/>
                <a:gd name="T45" fmla="*/ 276 h 698"/>
                <a:gd name="T46" fmla="*/ 18 w 552"/>
                <a:gd name="T47" fmla="*/ 316 h 698"/>
                <a:gd name="T48" fmla="*/ 34 w 552"/>
                <a:gd name="T49" fmla="*/ 396 h 698"/>
                <a:gd name="T50" fmla="*/ 66 w 552"/>
                <a:gd name="T51" fmla="*/ 468 h 698"/>
                <a:gd name="T52" fmla="*/ 110 w 552"/>
                <a:gd name="T53" fmla="*/ 534 h 698"/>
                <a:gd name="T54" fmla="*/ 166 w 552"/>
                <a:gd name="T55" fmla="*/ 588 h 698"/>
                <a:gd name="T56" fmla="*/ 232 w 552"/>
                <a:gd name="T57" fmla="*/ 632 h 698"/>
                <a:gd name="T58" fmla="*/ 306 w 552"/>
                <a:gd name="T59" fmla="*/ 664 h 698"/>
                <a:gd name="T60" fmla="*/ 386 w 552"/>
                <a:gd name="T61" fmla="*/ 680 h 698"/>
                <a:gd name="T62" fmla="*/ 428 w 552"/>
                <a:gd name="T63" fmla="*/ 682 h 698"/>
                <a:gd name="T64" fmla="*/ 484 w 552"/>
                <a:gd name="T65" fmla="*/ 678 h 698"/>
                <a:gd name="T66" fmla="*/ 540 w 552"/>
                <a:gd name="T67" fmla="*/ 666 h 698"/>
                <a:gd name="T68" fmla="*/ 544 w 552"/>
                <a:gd name="T69" fmla="*/ 666 h 698"/>
                <a:gd name="T70" fmla="*/ 550 w 552"/>
                <a:gd name="T71" fmla="*/ 668 h 698"/>
                <a:gd name="T72" fmla="*/ 552 w 552"/>
                <a:gd name="T73" fmla="*/ 672 h 698"/>
                <a:gd name="T74" fmla="*/ 550 w 552"/>
                <a:gd name="T75" fmla="*/ 678 h 698"/>
                <a:gd name="T76" fmla="*/ 546 w 552"/>
                <a:gd name="T77" fmla="*/ 682 h 698"/>
                <a:gd name="T78" fmla="*/ 516 w 552"/>
                <a:gd name="T79" fmla="*/ 690 h 698"/>
                <a:gd name="T80" fmla="*/ 458 w 552"/>
                <a:gd name="T81" fmla="*/ 698 h 698"/>
                <a:gd name="T82" fmla="*/ 428 w 552"/>
                <a:gd name="T83" fmla="*/ 698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52" h="698">
                  <a:moveTo>
                    <a:pt x="428" y="698"/>
                  </a:moveTo>
                  <a:lnTo>
                    <a:pt x="428" y="698"/>
                  </a:lnTo>
                  <a:lnTo>
                    <a:pt x="384" y="696"/>
                  </a:lnTo>
                  <a:lnTo>
                    <a:pt x="342" y="690"/>
                  </a:lnTo>
                  <a:lnTo>
                    <a:pt x="300" y="680"/>
                  </a:lnTo>
                  <a:lnTo>
                    <a:pt x="262" y="666"/>
                  </a:lnTo>
                  <a:lnTo>
                    <a:pt x="224" y="648"/>
                  </a:lnTo>
                  <a:lnTo>
                    <a:pt x="188" y="626"/>
                  </a:lnTo>
                  <a:lnTo>
                    <a:pt x="156" y="602"/>
                  </a:lnTo>
                  <a:lnTo>
                    <a:pt x="124" y="574"/>
                  </a:lnTo>
                  <a:lnTo>
                    <a:pt x="98" y="544"/>
                  </a:lnTo>
                  <a:lnTo>
                    <a:pt x="72" y="512"/>
                  </a:lnTo>
                  <a:lnTo>
                    <a:pt x="52" y="476"/>
                  </a:lnTo>
                  <a:lnTo>
                    <a:pt x="32" y="440"/>
                  </a:lnTo>
                  <a:lnTo>
                    <a:pt x="18" y="400"/>
                  </a:lnTo>
                  <a:lnTo>
                    <a:pt x="8" y="360"/>
                  </a:lnTo>
                  <a:lnTo>
                    <a:pt x="2" y="318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38"/>
                  </a:lnTo>
                  <a:lnTo>
                    <a:pt x="6" y="202"/>
                  </a:lnTo>
                  <a:lnTo>
                    <a:pt x="14" y="166"/>
                  </a:lnTo>
                  <a:lnTo>
                    <a:pt x="26" y="130"/>
                  </a:lnTo>
                  <a:lnTo>
                    <a:pt x="40" y="96"/>
                  </a:lnTo>
                  <a:lnTo>
                    <a:pt x="56" y="64"/>
                  </a:lnTo>
                  <a:lnTo>
                    <a:pt x="76" y="3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2" y="2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4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90" y="42"/>
                  </a:lnTo>
                  <a:lnTo>
                    <a:pt x="72" y="72"/>
                  </a:lnTo>
                  <a:lnTo>
                    <a:pt x="54" y="104"/>
                  </a:lnTo>
                  <a:lnTo>
                    <a:pt x="42" y="136"/>
                  </a:lnTo>
                  <a:lnTo>
                    <a:pt x="30" y="170"/>
                  </a:lnTo>
                  <a:lnTo>
                    <a:pt x="22" y="204"/>
                  </a:lnTo>
                  <a:lnTo>
                    <a:pt x="18" y="240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316"/>
                  </a:lnTo>
                  <a:lnTo>
                    <a:pt x="24" y="356"/>
                  </a:lnTo>
                  <a:lnTo>
                    <a:pt x="34" y="396"/>
                  </a:lnTo>
                  <a:lnTo>
                    <a:pt x="48" y="434"/>
                  </a:lnTo>
                  <a:lnTo>
                    <a:pt x="66" y="468"/>
                  </a:lnTo>
                  <a:lnTo>
                    <a:pt x="86" y="502"/>
                  </a:lnTo>
                  <a:lnTo>
                    <a:pt x="110" y="534"/>
                  </a:lnTo>
                  <a:lnTo>
                    <a:pt x="138" y="562"/>
                  </a:lnTo>
                  <a:lnTo>
                    <a:pt x="166" y="588"/>
                  </a:lnTo>
                  <a:lnTo>
                    <a:pt x="198" y="612"/>
                  </a:lnTo>
                  <a:lnTo>
                    <a:pt x="232" y="632"/>
                  </a:lnTo>
                  <a:lnTo>
                    <a:pt x="268" y="650"/>
                  </a:lnTo>
                  <a:lnTo>
                    <a:pt x="306" y="664"/>
                  </a:lnTo>
                  <a:lnTo>
                    <a:pt x="346" y="674"/>
                  </a:lnTo>
                  <a:lnTo>
                    <a:pt x="386" y="680"/>
                  </a:lnTo>
                  <a:lnTo>
                    <a:pt x="428" y="682"/>
                  </a:lnTo>
                  <a:lnTo>
                    <a:pt x="428" y="682"/>
                  </a:lnTo>
                  <a:lnTo>
                    <a:pt x="456" y="680"/>
                  </a:lnTo>
                  <a:lnTo>
                    <a:pt x="484" y="678"/>
                  </a:lnTo>
                  <a:lnTo>
                    <a:pt x="512" y="672"/>
                  </a:lnTo>
                  <a:lnTo>
                    <a:pt x="540" y="666"/>
                  </a:lnTo>
                  <a:lnTo>
                    <a:pt x="540" y="666"/>
                  </a:lnTo>
                  <a:lnTo>
                    <a:pt x="544" y="666"/>
                  </a:lnTo>
                  <a:lnTo>
                    <a:pt x="546" y="666"/>
                  </a:lnTo>
                  <a:lnTo>
                    <a:pt x="550" y="668"/>
                  </a:lnTo>
                  <a:lnTo>
                    <a:pt x="552" y="672"/>
                  </a:lnTo>
                  <a:lnTo>
                    <a:pt x="552" y="672"/>
                  </a:lnTo>
                  <a:lnTo>
                    <a:pt x="552" y="676"/>
                  </a:lnTo>
                  <a:lnTo>
                    <a:pt x="550" y="678"/>
                  </a:lnTo>
                  <a:lnTo>
                    <a:pt x="548" y="682"/>
                  </a:lnTo>
                  <a:lnTo>
                    <a:pt x="546" y="682"/>
                  </a:lnTo>
                  <a:lnTo>
                    <a:pt x="546" y="682"/>
                  </a:lnTo>
                  <a:lnTo>
                    <a:pt x="516" y="690"/>
                  </a:lnTo>
                  <a:lnTo>
                    <a:pt x="488" y="694"/>
                  </a:lnTo>
                  <a:lnTo>
                    <a:pt x="458" y="698"/>
                  </a:lnTo>
                  <a:lnTo>
                    <a:pt x="428" y="698"/>
                  </a:lnTo>
                  <a:lnTo>
                    <a:pt x="428" y="69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002088" y="4873625"/>
              <a:ext cx="171450" cy="171450"/>
            </a:xfrm>
            <a:custGeom>
              <a:avLst/>
              <a:gdLst>
                <a:gd name="T0" fmla="*/ 54 w 108"/>
                <a:gd name="T1" fmla="*/ 108 h 108"/>
                <a:gd name="T2" fmla="*/ 34 w 108"/>
                <a:gd name="T3" fmla="*/ 104 h 108"/>
                <a:gd name="T4" fmla="*/ 16 w 108"/>
                <a:gd name="T5" fmla="*/ 92 h 108"/>
                <a:gd name="T6" fmla="*/ 4 w 108"/>
                <a:gd name="T7" fmla="*/ 76 h 108"/>
                <a:gd name="T8" fmla="*/ 0 w 108"/>
                <a:gd name="T9" fmla="*/ 54 h 108"/>
                <a:gd name="T10" fmla="*/ 2 w 108"/>
                <a:gd name="T11" fmla="*/ 44 h 108"/>
                <a:gd name="T12" fmla="*/ 10 w 108"/>
                <a:gd name="T13" fmla="*/ 24 h 108"/>
                <a:gd name="T14" fmla="*/ 24 w 108"/>
                <a:gd name="T15" fmla="*/ 10 h 108"/>
                <a:gd name="T16" fmla="*/ 44 w 108"/>
                <a:gd name="T17" fmla="*/ 0 h 108"/>
                <a:gd name="T18" fmla="*/ 54 w 108"/>
                <a:gd name="T19" fmla="*/ 0 h 108"/>
                <a:gd name="T20" fmla="*/ 76 w 108"/>
                <a:gd name="T21" fmla="*/ 4 h 108"/>
                <a:gd name="T22" fmla="*/ 92 w 108"/>
                <a:gd name="T23" fmla="*/ 16 h 108"/>
                <a:gd name="T24" fmla="*/ 104 w 108"/>
                <a:gd name="T25" fmla="*/ 32 h 108"/>
                <a:gd name="T26" fmla="*/ 108 w 108"/>
                <a:gd name="T27" fmla="*/ 54 h 108"/>
                <a:gd name="T28" fmla="*/ 108 w 108"/>
                <a:gd name="T29" fmla="*/ 66 h 108"/>
                <a:gd name="T30" fmla="*/ 100 w 108"/>
                <a:gd name="T31" fmla="*/ 84 h 108"/>
                <a:gd name="T32" fmla="*/ 84 w 108"/>
                <a:gd name="T33" fmla="*/ 100 h 108"/>
                <a:gd name="T34" fmla="*/ 66 w 108"/>
                <a:gd name="T35" fmla="*/ 108 h 108"/>
                <a:gd name="T36" fmla="*/ 54 w 108"/>
                <a:gd name="T37" fmla="*/ 108 h 108"/>
                <a:gd name="T38" fmla="*/ 54 w 108"/>
                <a:gd name="T39" fmla="*/ 16 h 108"/>
                <a:gd name="T40" fmla="*/ 40 w 108"/>
                <a:gd name="T41" fmla="*/ 20 h 108"/>
                <a:gd name="T42" fmla="*/ 28 w 108"/>
                <a:gd name="T43" fmla="*/ 28 h 108"/>
                <a:gd name="T44" fmla="*/ 20 w 108"/>
                <a:gd name="T45" fmla="*/ 40 h 108"/>
                <a:gd name="T46" fmla="*/ 18 w 108"/>
                <a:gd name="T47" fmla="*/ 54 h 108"/>
                <a:gd name="T48" fmla="*/ 18 w 108"/>
                <a:gd name="T49" fmla="*/ 62 h 108"/>
                <a:gd name="T50" fmla="*/ 24 w 108"/>
                <a:gd name="T51" fmla="*/ 74 h 108"/>
                <a:gd name="T52" fmla="*/ 34 w 108"/>
                <a:gd name="T53" fmla="*/ 84 h 108"/>
                <a:gd name="T54" fmla="*/ 46 w 108"/>
                <a:gd name="T55" fmla="*/ 90 h 108"/>
                <a:gd name="T56" fmla="*/ 54 w 108"/>
                <a:gd name="T57" fmla="*/ 92 h 108"/>
                <a:gd name="T58" fmla="*/ 68 w 108"/>
                <a:gd name="T59" fmla="*/ 88 h 108"/>
                <a:gd name="T60" fmla="*/ 80 w 108"/>
                <a:gd name="T61" fmla="*/ 80 h 108"/>
                <a:gd name="T62" fmla="*/ 88 w 108"/>
                <a:gd name="T63" fmla="*/ 68 h 108"/>
                <a:gd name="T64" fmla="*/ 92 w 108"/>
                <a:gd name="T65" fmla="*/ 54 h 108"/>
                <a:gd name="T66" fmla="*/ 90 w 108"/>
                <a:gd name="T67" fmla="*/ 46 h 108"/>
                <a:gd name="T68" fmla="*/ 86 w 108"/>
                <a:gd name="T69" fmla="*/ 34 h 108"/>
                <a:gd name="T70" fmla="*/ 76 w 108"/>
                <a:gd name="T71" fmla="*/ 24 h 108"/>
                <a:gd name="T72" fmla="*/ 62 w 108"/>
                <a:gd name="T73" fmla="*/ 18 h 108"/>
                <a:gd name="T74" fmla="*/ 54 w 108"/>
                <a:gd name="T75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lnTo>
                    <a:pt x="54" y="108"/>
                  </a:lnTo>
                  <a:lnTo>
                    <a:pt x="44" y="108"/>
                  </a:lnTo>
                  <a:lnTo>
                    <a:pt x="34" y="104"/>
                  </a:lnTo>
                  <a:lnTo>
                    <a:pt x="24" y="100"/>
                  </a:lnTo>
                  <a:lnTo>
                    <a:pt x="16" y="92"/>
                  </a:lnTo>
                  <a:lnTo>
                    <a:pt x="10" y="84"/>
                  </a:lnTo>
                  <a:lnTo>
                    <a:pt x="4" y="76"/>
                  </a:lnTo>
                  <a:lnTo>
                    <a:pt x="2" y="6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44"/>
                  </a:lnTo>
                  <a:lnTo>
                    <a:pt x="4" y="32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6" y="4"/>
                  </a:lnTo>
                  <a:lnTo>
                    <a:pt x="84" y="10"/>
                  </a:lnTo>
                  <a:lnTo>
                    <a:pt x="92" y="16"/>
                  </a:lnTo>
                  <a:lnTo>
                    <a:pt x="100" y="24"/>
                  </a:lnTo>
                  <a:lnTo>
                    <a:pt x="104" y="32"/>
                  </a:lnTo>
                  <a:lnTo>
                    <a:pt x="108" y="4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66"/>
                  </a:lnTo>
                  <a:lnTo>
                    <a:pt x="104" y="76"/>
                  </a:lnTo>
                  <a:lnTo>
                    <a:pt x="100" y="84"/>
                  </a:lnTo>
                  <a:lnTo>
                    <a:pt x="92" y="92"/>
                  </a:lnTo>
                  <a:lnTo>
                    <a:pt x="84" y="100"/>
                  </a:lnTo>
                  <a:lnTo>
                    <a:pt x="76" y="104"/>
                  </a:lnTo>
                  <a:lnTo>
                    <a:pt x="66" y="108"/>
                  </a:lnTo>
                  <a:lnTo>
                    <a:pt x="54" y="108"/>
                  </a:lnTo>
                  <a:lnTo>
                    <a:pt x="54" y="108"/>
                  </a:lnTo>
                  <a:close/>
                  <a:moveTo>
                    <a:pt x="54" y="16"/>
                  </a:moveTo>
                  <a:lnTo>
                    <a:pt x="54" y="16"/>
                  </a:lnTo>
                  <a:lnTo>
                    <a:pt x="46" y="18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0"/>
                  </a:lnTo>
                  <a:lnTo>
                    <a:pt x="18" y="4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62"/>
                  </a:lnTo>
                  <a:lnTo>
                    <a:pt x="20" y="68"/>
                  </a:lnTo>
                  <a:lnTo>
                    <a:pt x="24" y="74"/>
                  </a:lnTo>
                  <a:lnTo>
                    <a:pt x="28" y="80"/>
                  </a:lnTo>
                  <a:lnTo>
                    <a:pt x="34" y="84"/>
                  </a:lnTo>
                  <a:lnTo>
                    <a:pt x="40" y="88"/>
                  </a:lnTo>
                  <a:lnTo>
                    <a:pt x="46" y="90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62" y="90"/>
                  </a:lnTo>
                  <a:lnTo>
                    <a:pt x="68" y="88"/>
                  </a:lnTo>
                  <a:lnTo>
                    <a:pt x="76" y="84"/>
                  </a:lnTo>
                  <a:lnTo>
                    <a:pt x="80" y="80"/>
                  </a:lnTo>
                  <a:lnTo>
                    <a:pt x="86" y="74"/>
                  </a:lnTo>
                  <a:lnTo>
                    <a:pt x="88" y="68"/>
                  </a:lnTo>
                  <a:lnTo>
                    <a:pt x="90" y="6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0" y="46"/>
                  </a:lnTo>
                  <a:lnTo>
                    <a:pt x="88" y="40"/>
                  </a:lnTo>
                  <a:lnTo>
                    <a:pt x="86" y="34"/>
                  </a:lnTo>
                  <a:lnTo>
                    <a:pt x="80" y="28"/>
                  </a:lnTo>
                  <a:lnTo>
                    <a:pt x="76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4" y="16"/>
                  </a:lnTo>
                  <a:lnTo>
                    <a:pt x="54" y="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2109788" y="4895850"/>
              <a:ext cx="174625" cy="215900"/>
            </a:xfrm>
            <a:custGeom>
              <a:avLst/>
              <a:gdLst>
                <a:gd name="T0" fmla="*/ 70 w 110"/>
                <a:gd name="T1" fmla="*/ 116 h 136"/>
                <a:gd name="T2" fmla="*/ 48 w 110"/>
                <a:gd name="T3" fmla="*/ 108 h 136"/>
                <a:gd name="T4" fmla="*/ 36 w 110"/>
                <a:gd name="T5" fmla="*/ 88 h 136"/>
                <a:gd name="T6" fmla="*/ 86 w 110"/>
                <a:gd name="T7" fmla="*/ 72 h 136"/>
                <a:gd name="T8" fmla="*/ 34 w 110"/>
                <a:gd name="T9" fmla="*/ 72 h 136"/>
                <a:gd name="T10" fmla="*/ 34 w 110"/>
                <a:gd name="T11" fmla="*/ 68 h 136"/>
                <a:gd name="T12" fmla="*/ 86 w 110"/>
                <a:gd name="T13" fmla="*/ 64 h 136"/>
                <a:gd name="T14" fmla="*/ 36 w 110"/>
                <a:gd name="T15" fmla="*/ 48 h 136"/>
                <a:gd name="T16" fmla="*/ 42 w 110"/>
                <a:gd name="T17" fmla="*/ 36 h 136"/>
                <a:gd name="T18" fmla="*/ 58 w 110"/>
                <a:gd name="T19" fmla="*/ 22 h 136"/>
                <a:gd name="T20" fmla="*/ 70 w 110"/>
                <a:gd name="T21" fmla="*/ 20 h 136"/>
                <a:gd name="T22" fmla="*/ 86 w 110"/>
                <a:gd name="T23" fmla="*/ 22 h 136"/>
                <a:gd name="T24" fmla="*/ 98 w 110"/>
                <a:gd name="T25" fmla="*/ 34 h 136"/>
                <a:gd name="T26" fmla="*/ 110 w 110"/>
                <a:gd name="T27" fmla="*/ 20 h 136"/>
                <a:gd name="T28" fmla="*/ 92 w 110"/>
                <a:gd name="T29" fmla="*/ 6 h 136"/>
                <a:gd name="T30" fmla="*/ 70 w 110"/>
                <a:gd name="T31" fmla="*/ 0 h 136"/>
                <a:gd name="T32" fmla="*/ 60 w 110"/>
                <a:gd name="T33" fmla="*/ 0 h 136"/>
                <a:gd name="T34" fmla="*/ 44 w 110"/>
                <a:gd name="T35" fmla="*/ 8 h 136"/>
                <a:gd name="T36" fmla="*/ 30 w 110"/>
                <a:gd name="T37" fmla="*/ 20 h 136"/>
                <a:gd name="T38" fmla="*/ 22 w 110"/>
                <a:gd name="T39" fmla="*/ 38 h 136"/>
                <a:gd name="T40" fmla="*/ 0 w 110"/>
                <a:gd name="T41" fmla="*/ 48 h 136"/>
                <a:gd name="T42" fmla="*/ 16 w 110"/>
                <a:gd name="T43" fmla="*/ 64 h 136"/>
                <a:gd name="T44" fmla="*/ 16 w 110"/>
                <a:gd name="T45" fmla="*/ 68 h 136"/>
                <a:gd name="T46" fmla="*/ 16 w 110"/>
                <a:gd name="T47" fmla="*/ 72 h 136"/>
                <a:gd name="T48" fmla="*/ 0 w 110"/>
                <a:gd name="T49" fmla="*/ 88 h 136"/>
                <a:gd name="T50" fmla="*/ 18 w 110"/>
                <a:gd name="T51" fmla="*/ 88 h 136"/>
                <a:gd name="T52" fmla="*/ 26 w 110"/>
                <a:gd name="T53" fmla="*/ 106 h 136"/>
                <a:gd name="T54" fmla="*/ 36 w 110"/>
                <a:gd name="T55" fmla="*/ 122 h 136"/>
                <a:gd name="T56" fmla="*/ 52 w 110"/>
                <a:gd name="T57" fmla="*/ 132 h 136"/>
                <a:gd name="T58" fmla="*/ 70 w 110"/>
                <a:gd name="T59" fmla="*/ 136 h 136"/>
                <a:gd name="T60" fmla="*/ 82 w 110"/>
                <a:gd name="T61" fmla="*/ 134 h 136"/>
                <a:gd name="T62" fmla="*/ 102 w 110"/>
                <a:gd name="T63" fmla="*/ 124 h 136"/>
                <a:gd name="T64" fmla="*/ 98 w 110"/>
                <a:gd name="T65" fmla="*/ 102 h 136"/>
                <a:gd name="T66" fmla="*/ 92 w 110"/>
                <a:gd name="T67" fmla="*/ 108 h 136"/>
                <a:gd name="T68" fmla="*/ 78 w 110"/>
                <a:gd name="T69" fmla="*/ 116 h 136"/>
                <a:gd name="T70" fmla="*/ 70 w 110"/>
                <a:gd name="T71" fmla="*/ 11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70" y="116"/>
                  </a:moveTo>
                  <a:lnTo>
                    <a:pt x="70" y="116"/>
                  </a:lnTo>
                  <a:lnTo>
                    <a:pt x="58" y="114"/>
                  </a:lnTo>
                  <a:lnTo>
                    <a:pt x="48" y="108"/>
                  </a:lnTo>
                  <a:lnTo>
                    <a:pt x="42" y="98"/>
                  </a:lnTo>
                  <a:lnTo>
                    <a:pt x="36" y="88"/>
                  </a:lnTo>
                  <a:lnTo>
                    <a:pt x="86" y="88"/>
                  </a:lnTo>
                  <a:lnTo>
                    <a:pt x="86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4"/>
                  </a:lnTo>
                  <a:lnTo>
                    <a:pt x="86" y="64"/>
                  </a:lnTo>
                  <a:lnTo>
                    <a:pt x="8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2" y="36"/>
                  </a:lnTo>
                  <a:lnTo>
                    <a:pt x="48" y="28"/>
                  </a:lnTo>
                  <a:lnTo>
                    <a:pt x="58" y="22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8" y="20"/>
                  </a:lnTo>
                  <a:lnTo>
                    <a:pt x="86" y="22"/>
                  </a:lnTo>
                  <a:lnTo>
                    <a:pt x="92" y="28"/>
                  </a:lnTo>
                  <a:lnTo>
                    <a:pt x="98" y="34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02" y="12"/>
                  </a:lnTo>
                  <a:lnTo>
                    <a:pt x="92" y="6"/>
                  </a:lnTo>
                  <a:lnTo>
                    <a:pt x="8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0" y="0"/>
                  </a:lnTo>
                  <a:lnTo>
                    <a:pt x="52" y="4"/>
                  </a:lnTo>
                  <a:lnTo>
                    <a:pt x="44" y="8"/>
                  </a:lnTo>
                  <a:lnTo>
                    <a:pt x="36" y="14"/>
                  </a:lnTo>
                  <a:lnTo>
                    <a:pt x="30" y="20"/>
                  </a:lnTo>
                  <a:lnTo>
                    <a:pt x="26" y="28"/>
                  </a:lnTo>
                  <a:lnTo>
                    <a:pt x="22" y="3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2" y="98"/>
                  </a:lnTo>
                  <a:lnTo>
                    <a:pt x="26" y="106"/>
                  </a:lnTo>
                  <a:lnTo>
                    <a:pt x="30" y="114"/>
                  </a:lnTo>
                  <a:lnTo>
                    <a:pt x="36" y="122"/>
                  </a:lnTo>
                  <a:lnTo>
                    <a:pt x="44" y="128"/>
                  </a:lnTo>
                  <a:lnTo>
                    <a:pt x="52" y="132"/>
                  </a:lnTo>
                  <a:lnTo>
                    <a:pt x="60" y="134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2" y="134"/>
                  </a:lnTo>
                  <a:lnTo>
                    <a:pt x="92" y="130"/>
                  </a:lnTo>
                  <a:lnTo>
                    <a:pt x="102" y="124"/>
                  </a:lnTo>
                  <a:lnTo>
                    <a:pt x="110" y="114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2" y="108"/>
                  </a:lnTo>
                  <a:lnTo>
                    <a:pt x="86" y="112"/>
                  </a:lnTo>
                  <a:lnTo>
                    <a:pt x="78" y="116"/>
                  </a:lnTo>
                  <a:lnTo>
                    <a:pt x="70" y="116"/>
                  </a:lnTo>
                  <a:lnTo>
                    <a:pt x="70" y="1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693988" y="4391025"/>
              <a:ext cx="139700" cy="269875"/>
            </a:xfrm>
            <a:custGeom>
              <a:avLst/>
              <a:gdLst>
                <a:gd name="T0" fmla="*/ 78 w 88"/>
                <a:gd name="T1" fmla="*/ 92 h 170"/>
                <a:gd name="T2" fmla="*/ 54 w 88"/>
                <a:gd name="T3" fmla="*/ 76 h 170"/>
                <a:gd name="T4" fmla="*/ 54 w 88"/>
                <a:gd name="T5" fmla="*/ 30 h 170"/>
                <a:gd name="T6" fmla="*/ 64 w 88"/>
                <a:gd name="T7" fmla="*/ 36 h 170"/>
                <a:gd name="T8" fmla="*/ 70 w 88"/>
                <a:gd name="T9" fmla="*/ 44 h 170"/>
                <a:gd name="T10" fmla="*/ 88 w 88"/>
                <a:gd name="T11" fmla="*/ 56 h 170"/>
                <a:gd name="T12" fmla="*/ 88 w 88"/>
                <a:gd name="T13" fmla="*/ 54 h 170"/>
                <a:gd name="T14" fmla="*/ 86 w 88"/>
                <a:gd name="T15" fmla="*/ 38 h 170"/>
                <a:gd name="T16" fmla="*/ 78 w 88"/>
                <a:gd name="T17" fmla="*/ 24 h 170"/>
                <a:gd name="T18" fmla="*/ 74 w 88"/>
                <a:gd name="T19" fmla="*/ 20 h 170"/>
                <a:gd name="T20" fmla="*/ 54 w 88"/>
                <a:gd name="T21" fmla="*/ 14 h 170"/>
                <a:gd name="T22" fmla="*/ 36 w 88"/>
                <a:gd name="T23" fmla="*/ 0 h 170"/>
                <a:gd name="T24" fmla="*/ 36 w 88"/>
                <a:gd name="T25" fmla="*/ 14 h 170"/>
                <a:gd name="T26" fmla="*/ 16 w 88"/>
                <a:gd name="T27" fmla="*/ 24 h 170"/>
                <a:gd name="T28" fmla="*/ 10 w 88"/>
                <a:gd name="T29" fmla="*/ 30 h 170"/>
                <a:gd name="T30" fmla="*/ 2 w 88"/>
                <a:gd name="T31" fmla="*/ 44 h 170"/>
                <a:gd name="T32" fmla="*/ 2 w 88"/>
                <a:gd name="T33" fmla="*/ 52 h 170"/>
                <a:gd name="T34" fmla="*/ 6 w 88"/>
                <a:gd name="T35" fmla="*/ 66 h 170"/>
                <a:gd name="T36" fmla="*/ 14 w 88"/>
                <a:gd name="T37" fmla="*/ 78 h 170"/>
                <a:gd name="T38" fmla="*/ 24 w 88"/>
                <a:gd name="T39" fmla="*/ 86 h 170"/>
                <a:gd name="T40" fmla="*/ 36 w 88"/>
                <a:gd name="T41" fmla="*/ 138 h 170"/>
                <a:gd name="T42" fmla="*/ 30 w 88"/>
                <a:gd name="T43" fmla="*/ 134 h 170"/>
                <a:gd name="T44" fmla="*/ 24 w 88"/>
                <a:gd name="T45" fmla="*/ 132 h 170"/>
                <a:gd name="T46" fmla="*/ 18 w 88"/>
                <a:gd name="T47" fmla="*/ 124 h 170"/>
                <a:gd name="T48" fmla="*/ 0 w 88"/>
                <a:gd name="T49" fmla="*/ 114 h 170"/>
                <a:gd name="T50" fmla="*/ 0 w 88"/>
                <a:gd name="T51" fmla="*/ 114 h 170"/>
                <a:gd name="T52" fmla="*/ 4 w 88"/>
                <a:gd name="T53" fmla="*/ 132 h 170"/>
                <a:gd name="T54" fmla="*/ 14 w 88"/>
                <a:gd name="T55" fmla="*/ 144 h 170"/>
                <a:gd name="T56" fmla="*/ 24 w 88"/>
                <a:gd name="T57" fmla="*/ 152 h 170"/>
                <a:gd name="T58" fmla="*/ 36 w 88"/>
                <a:gd name="T59" fmla="*/ 170 h 170"/>
                <a:gd name="T60" fmla="*/ 54 w 88"/>
                <a:gd name="T61" fmla="*/ 156 h 170"/>
                <a:gd name="T62" fmla="*/ 66 w 88"/>
                <a:gd name="T63" fmla="*/ 152 h 170"/>
                <a:gd name="T64" fmla="*/ 76 w 88"/>
                <a:gd name="T65" fmla="*/ 146 h 170"/>
                <a:gd name="T66" fmla="*/ 86 w 88"/>
                <a:gd name="T67" fmla="*/ 134 h 170"/>
                <a:gd name="T68" fmla="*/ 88 w 88"/>
                <a:gd name="T69" fmla="*/ 118 h 170"/>
                <a:gd name="T70" fmla="*/ 88 w 88"/>
                <a:gd name="T71" fmla="*/ 112 h 170"/>
                <a:gd name="T72" fmla="*/ 84 w 88"/>
                <a:gd name="T73" fmla="*/ 98 h 170"/>
                <a:gd name="T74" fmla="*/ 78 w 88"/>
                <a:gd name="T75" fmla="*/ 92 h 170"/>
                <a:gd name="T76" fmla="*/ 36 w 88"/>
                <a:gd name="T77" fmla="*/ 70 h 170"/>
                <a:gd name="T78" fmla="*/ 26 w 88"/>
                <a:gd name="T79" fmla="*/ 64 h 170"/>
                <a:gd name="T80" fmla="*/ 20 w 88"/>
                <a:gd name="T81" fmla="*/ 52 h 170"/>
                <a:gd name="T82" fmla="*/ 22 w 88"/>
                <a:gd name="T83" fmla="*/ 42 h 170"/>
                <a:gd name="T84" fmla="*/ 26 w 88"/>
                <a:gd name="T85" fmla="*/ 36 h 170"/>
                <a:gd name="T86" fmla="*/ 36 w 88"/>
                <a:gd name="T87" fmla="*/ 30 h 170"/>
                <a:gd name="T88" fmla="*/ 64 w 88"/>
                <a:gd name="T89" fmla="*/ 134 h 170"/>
                <a:gd name="T90" fmla="*/ 60 w 88"/>
                <a:gd name="T91" fmla="*/ 136 h 170"/>
                <a:gd name="T92" fmla="*/ 54 w 88"/>
                <a:gd name="T93" fmla="*/ 96 h 170"/>
                <a:gd name="T94" fmla="*/ 60 w 88"/>
                <a:gd name="T95" fmla="*/ 100 h 170"/>
                <a:gd name="T96" fmla="*/ 64 w 88"/>
                <a:gd name="T97" fmla="*/ 104 h 170"/>
                <a:gd name="T98" fmla="*/ 72 w 88"/>
                <a:gd name="T99" fmla="*/ 118 h 170"/>
                <a:gd name="T100" fmla="*/ 70 w 88"/>
                <a:gd name="T101" fmla="*/ 128 h 170"/>
                <a:gd name="T102" fmla="*/ 64 w 88"/>
                <a:gd name="T103" fmla="*/ 13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" h="170">
                  <a:moveTo>
                    <a:pt x="78" y="92"/>
                  </a:moveTo>
                  <a:lnTo>
                    <a:pt x="78" y="92"/>
                  </a:lnTo>
                  <a:lnTo>
                    <a:pt x="68" y="84"/>
                  </a:lnTo>
                  <a:lnTo>
                    <a:pt x="54" y="76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70" y="44"/>
                  </a:lnTo>
                  <a:lnTo>
                    <a:pt x="70" y="56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46"/>
                  </a:lnTo>
                  <a:lnTo>
                    <a:pt x="86" y="38"/>
                  </a:lnTo>
                  <a:lnTo>
                    <a:pt x="84" y="32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4" y="20"/>
                  </a:lnTo>
                  <a:lnTo>
                    <a:pt x="68" y="18"/>
                  </a:lnTo>
                  <a:lnTo>
                    <a:pt x="54" y="14"/>
                  </a:lnTo>
                  <a:lnTo>
                    <a:pt x="54" y="0"/>
                  </a:lnTo>
                  <a:lnTo>
                    <a:pt x="36" y="0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24" y="16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30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0" y="72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24" y="86"/>
                  </a:lnTo>
                  <a:lnTo>
                    <a:pt x="36" y="92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0" y="134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0" y="128"/>
                  </a:lnTo>
                  <a:lnTo>
                    <a:pt x="18" y="124"/>
                  </a:lnTo>
                  <a:lnTo>
                    <a:pt x="18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4" y="132"/>
                  </a:lnTo>
                  <a:lnTo>
                    <a:pt x="8" y="138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24" y="152"/>
                  </a:lnTo>
                  <a:lnTo>
                    <a:pt x="36" y="154"/>
                  </a:lnTo>
                  <a:lnTo>
                    <a:pt x="36" y="170"/>
                  </a:lnTo>
                  <a:lnTo>
                    <a:pt x="54" y="170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66" y="152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82" y="140"/>
                  </a:lnTo>
                  <a:lnTo>
                    <a:pt x="86" y="134"/>
                  </a:lnTo>
                  <a:lnTo>
                    <a:pt x="88" y="126"/>
                  </a:lnTo>
                  <a:lnTo>
                    <a:pt x="88" y="118"/>
                  </a:lnTo>
                  <a:lnTo>
                    <a:pt x="88" y="118"/>
                  </a:lnTo>
                  <a:lnTo>
                    <a:pt x="88" y="112"/>
                  </a:lnTo>
                  <a:lnTo>
                    <a:pt x="86" y="104"/>
                  </a:lnTo>
                  <a:lnTo>
                    <a:pt x="84" y="98"/>
                  </a:lnTo>
                  <a:lnTo>
                    <a:pt x="78" y="92"/>
                  </a:lnTo>
                  <a:lnTo>
                    <a:pt x="78" y="92"/>
                  </a:lnTo>
                  <a:close/>
                  <a:moveTo>
                    <a:pt x="36" y="70"/>
                  </a:moveTo>
                  <a:lnTo>
                    <a:pt x="36" y="7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2" y="58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42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0" y="32"/>
                  </a:lnTo>
                  <a:lnTo>
                    <a:pt x="36" y="30"/>
                  </a:lnTo>
                  <a:lnTo>
                    <a:pt x="36" y="70"/>
                  </a:lnTo>
                  <a:close/>
                  <a:moveTo>
                    <a:pt x="64" y="134"/>
                  </a:moveTo>
                  <a:lnTo>
                    <a:pt x="64" y="134"/>
                  </a:lnTo>
                  <a:lnTo>
                    <a:pt x="60" y="136"/>
                  </a:lnTo>
                  <a:lnTo>
                    <a:pt x="54" y="138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70" y="110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0" y="128"/>
                  </a:lnTo>
                  <a:lnTo>
                    <a:pt x="64" y="134"/>
                  </a:lnTo>
                  <a:lnTo>
                    <a:pt x="64" y="13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043113" y="4572000"/>
              <a:ext cx="2127250" cy="1495425"/>
            </a:xfrm>
            <a:custGeom>
              <a:avLst/>
              <a:gdLst>
                <a:gd name="T0" fmla="*/ 10 w 1340"/>
                <a:gd name="T1" fmla="*/ 942 h 942"/>
                <a:gd name="T2" fmla="*/ 6 w 1340"/>
                <a:gd name="T3" fmla="*/ 942 h 942"/>
                <a:gd name="T4" fmla="*/ 2 w 1340"/>
                <a:gd name="T5" fmla="*/ 936 h 942"/>
                <a:gd name="T6" fmla="*/ 0 w 1340"/>
                <a:gd name="T7" fmla="*/ 932 h 942"/>
                <a:gd name="T8" fmla="*/ 4 w 1340"/>
                <a:gd name="T9" fmla="*/ 924 h 942"/>
                <a:gd name="T10" fmla="*/ 10 w 1340"/>
                <a:gd name="T11" fmla="*/ 922 h 942"/>
                <a:gd name="T12" fmla="*/ 364 w 1340"/>
                <a:gd name="T13" fmla="*/ 922 h 942"/>
                <a:gd name="T14" fmla="*/ 380 w 1340"/>
                <a:gd name="T15" fmla="*/ 918 h 942"/>
                <a:gd name="T16" fmla="*/ 394 w 1340"/>
                <a:gd name="T17" fmla="*/ 910 h 942"/>
                <a:gd name="T18" fmla="*/ 402 w 1340"/>
                <a:gd name="T19" fmla="*/ 896 h 942"/>
                <a:gd name="T20" fmla="*/ 406 w 1340"/>
                <a:gd name="T21" fmla="*/ 878 h 942"/>
                <a:gd name="T22" fmla="*/ 406 w 1340"/>
                <a:gd name="T23" fmla="*/ 638 h 942"/>
                <a:gd name="T24" fmla="*/ 412 w 1340"/>
                <a:gd name="T25" fmla="*/ 614 h 942"/>
                <a:gd name="T26" fmla="*/ 424 w 1340"/>
                <a:gd name="T27" fmla="*/ 594 h 942"/>
                <a:gd name="T28" fmla="*/ 444 w 1340"/>
                <a:gd name="T29" fmla="*/ 580 h 942"/>
                <a:gd name="T30" fmla="*/ 470 w 1340"/>
                <a:gd name="T31" fmla="*/ 574 h 942"/>
                <a:gd name="T32" fmla="*/ 710 w 1340"/>
                <a:gd name="T33" fmla="*/ 574 h 942"/>
                <a:gd name="T34" fmla="*/ 726 w 1340"/>
                <a:gd name="T35" fmla="*/ 572 h 942"/>
                <a:gd name="T36" fmla="*/ 740 w 1340"/>
                <a:gd name="T37" fmla="*/ 562 h 942"/>
                <a:gd name="T38" fmla="*/ 750 w 1340"/>
                <a:gd name="T39" fmla="*/ 548 h 942"/>
                <a:gd name="T40" fmla="*/ 754 w 1340"/>
                <a:gd name="T41" fmla="*/ 532 h 942"/>
                <a:gd name="T42" fmla="*/ 754 w 1340"/>
                <a:gd name="T43" fmla="*/ 280 h 942"/>
                <a:gd name="T44" fmla="*/ 758 w 1340"/>
                <a:gd name="T45" fmla="*/ 256 h 942"/>
                <a:gd name="T46" fmla="*/ 772 w 1340"/>
                <a:gd name="T47" fmla="*/ 236 h 942"/>
                <a:gd name="T48" fmla="*/ 792 w 1340"/>
                <a:gd name="T49" fmla="*/ 222 h 942"/>
                <a:gd name="T50" fmla="*/ 816 w 1340"/>
                <a:gd name="T51" fmla="*/ 218 h 942"/>
                <a:gd name="T52" fmla="*/ 1054 w 1340"/>
                <a:gd name="T53" fmla="*/ 218 h 942"/>
                <a:gd name="T54" fmla="*/ 1076 w 1340"/>
                <a:gd name="T55" fmla="*/ 214 h 942"/>
                <a:gd name="T56" fmla="*/ 1120 w 1340"/>
                <a:gd name="T57" fmla="*/ 196 h 942"/>
                <a:gd name="T58" fmla="*/ 1138 w 1340"/>
                <a:gd name="T59" fmla="*/ 184 h 942"/>
                <a:gd name="T60" fmla="*/ 1324 w 1340"/>
                <a:gd name="T61" fmla="*/ 2 h 942"/>
                <a:gd name="T62" fmla="*/ 1330 w 1340"/>
                <a:gd name="T63" fmla="*/ 0 h 942"/>
                <a:gd name="T64" fmla="*/ 1338 w 1340"/>
                <a:gd name="T65" fmla="*/ 2 h 942"/>
                <a:gd name="T66" fmla="*/ 1340 w 1340"/>
                <a:gd name="T67" fmla="*/ 6 h 942"/>
                <a:gd name="T68" fmla="*/ 1340 w 1340"/>
                <a:gd name="T69" fmla="*/ 14 h 942"/>
                <a:gd name="T70" fmla="*/ 1152 w 1340"/>
                <a:gd name="T71" fmla="*/ 198 h 942"/>
                <a:gd name="T72" fmla="*/ 1142 w 1340"/>
                <a:gd name="T73" fmla="*/ 206 h 942"/>
                <a:gd name="T74" fmla="*/ 1106 w 1340"/>
                <a:gd name="T75" fmla="*/ 226 h 942"/>
                <a:gd name="T76" fmla="*/ 1066 w 1340"/>
                <a:gd name="T77" fmla="*/ 236 h 942"/>
                <a:gd name="T78" fmla="*/ 816 w 1340"/>
                <a:gd name="T79" fmla="*/ 238 h 942"/>
                <a:gd name="T80" fmla="*/ 808 w 1340"/>
                <a:gd name="T81" fmla="*/ 238 h 942"/>
                <a:gd name="T82" fmla="*/ 792 w 1340"/>
                <a:gd name="T83" fmla="*/ 244 h 942"/>
                <a:gd name="T84" fmla="*/ 780 w 1340"/>
                <a:gd name="T85" fmla="*/ 256 h 942"/>
                <a:gd name="T86" fmla="*/ 774 w 1340"/>
                <a:gd name="T87" fmla="*/ 272 h 942"/>
                <a:gd name="T88" fmla="*/ 774 w 1340"/>
                <a:gd name="T89" fmla="*/ 532 h 942"/>
                <a:gd name="T90" fmla="*/ 772 w 1340"/>
                <a:gd name="T91" fmla="*/ 544 h 942"/>
                <a:gd name="T92" fmla="*/ 762 w 1340"/>
                <a:gd name="T93" fmla="*/ 566 h 942"/>
                <a:gd name="T94" fmla="*/ 746 w 1340"/>
                <a:gd name="T95" fmla="*/ 584 h 942"/>
                <a:gd name="T96" fmla="*/ 722 w 1340"/>
                <a:gd name="T97" fmla="*/ 594 h 942"/>
                <a:gd name="T98" fmla="*/ 470 w 1340"/>
                <a:gd name="T99" fmla="*/ 594 h 942"/>
                <a:gd name="T100" fmla="*/ 460 w 1340"/>
                <a:gd name="T101" fmla="*/ 596 h 942"/>
                <a:gd name="T102" fmla="*/ 446 w 1340"/>
                <a:gd name="T103" fmla="*/ 602 h 942"/>
                <a:gd name="T104" fmla="*/ 434 w 1340"/>
                <a:gd name="T105" fmla="*/ 614 h 942"/>
                <a:gd name="T106" fmla="*/ 428 w 1340"/>
                <a:gd name="T107" fmla="*/ 630 h 942"/>
                <a:gd name="T108" fmla="*/ 426 w 1340"/>
                <a:gd name="T109" fmla="*/ 878 h 942"/>
                <a:gd name="T110" fmla="*/ 426 w 1340"/>
                <a:gd name="T111" fmla="*/ 892 h 942"/>
                <a:gd name="T112" fmla="*/ 416 w 1340"/>
                <a:gd name="T113" fmla="*/ 914 h 942"/>
                <a:gd name="T114" fmla="*/ 398 w 1340"/>
                <a:gd name="T115" fmla="*/ 932 h 942"/>
                <a:gd name="T116" fmla="*/ 376 w 1340"/>
                <a:gd name="T117" fmla="*/ 940 h 942"/>
                <a:gd name="T118" fmla="*/ 364 w 1340"/>
                <a:gd name="T119" fmla="*/ 942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40" h="942">
                  <a:moveTo>
                    <a:pt x="364" y="942"/>
                  </a:moveTo>
                  <a:lnTo>
                    <a:pt x="10" y="942"/>
                  </a:lnTo>
                  <a:lnTo>
                    <a:pt x="10" y="942"/>
                  </a:lnTo>
                  <a:lnTo>
                    <a:pt x="6" y="942"/>
                  </a:lnTo>
                  <a:lnTo>
                    <a:pt x="4" y="938"/>
                  </a:lnTo>
                  <a:lnTo>
                    <a:pt x="2" y="936"/>
                  </a:lnTo>
                  <a:lnTo>
                    <a:pt x="0" y="932"/>
                  </a:lnTo>
                  <a:lnTo>
                    <a:pt x="0" y="932"/>
                  </a:lnTo>
                  <a:lnTo>
                    <a:pt x="2" y="928"/>
                  </a:lnTo>
                  <a:lnTo>
                    <a:pt x="4" y="924"/>
                  </a:lnTo>
                  <a:lnTo>
                    <a:pt x="6" y="922"/>
                  </a:lnTo>
                  <a:lnTo>
                    <a:pt x="10" y="922"/>
                  </a:lnTo>
                  <a:lnTo>
                    <a:pt x="364" y="922"/>
                  </a:lnTo>
                  <a:lnTo>
                    <a:pt x="364" y="922"/>
                  </a:lnTo>
                  <a:lnTo>
                    <a:pt x="372" y="920"/>
                  </a:lnTo>
                  <a:lnTo>
                    <a:pt x="380" y="918"/>
                  </a:lnTo>
                  <a:lnTo>
                    <a:pt x="388" y="914"/>
                  </a:lnTo>
                  <a:lnTo>
                    <a:pt x="394" y="910"/>
                  </a:lnTo>
                  <a:lnTo>
                    <a:pt x="398" y="902"/>
                  </a:lnTo>
                  <a:lnTo>
                    <a:pt x="402" y="896"/>
                  </a:lnTo>
                  <a:lnTo>
                    <a:pt x="406" y="888"/>
                  </a:lnTo>
                  <a:lnTo>
                    <a:pt x="406" y="878"/>
                  </a:lnTo>
                  <a:lnTo>
                    <a:pt x="406" y="638"/>
                  </a:lnTo>
                  <a:lnTo>
                    <a:pt x="406" y="638"/>
                  </a:lnTo>
                  <a:lnTo>
                    <a:pt x="408" y="626"/>
                  </a:lnTo>
                  <a:lnTo>
                    <a:pt x="412" y="614"/>
                  </a:lnTo>
                  <a:lnTo>
                    <a:pt x="418" y="602"/>
                  </a:lnTo>
                  <a:lnTo>
                    <a:pt x="424" y="594"/>
                  </a:lnTo>
                  <a:lnTo>
                    <a:pt x="434" y="586"/>
                  </a:lnTo>
                  <a:lnTo>
                    <a:pt x="444" y="580"/>
                  </a:lnTo>
                  <a:lnTo>
                    <a:pt x="456" y="576"/>
                  </a:lnTo>
                  <a:lnTo>
                    <a:pt x="470" y="574"/>
                  </a:lnTo>
                  <a:lnTo>
                    <a:pt x="710" y="574"/>
                  </a:lnTo>
                  <a:lnTo>
                    <a:pt x="710" y="574"/>
                  </a:lnTo>
                  <a:lnTo>
                    <a:pt x="718" y="574"/>
                  </a:lnTo>
                  <a:lnTo>
                    <a:pt x="726" y="572"/>
                  </a:lnTo>
                  <a:lnTo>
                    <a:pt x="734" y="568"/>
                  </a:lnTo>
                  <a:lnTo>
                    <a:pt x="740" y="562"/>
                  </a:lnTo>
                  <a:lnTo>
                    <a:pt x="746" y="556"/>
                  </a:lnTo>
                  <a:lnTo>
                    <a:pt x="750" y="548"/>
                  </a:lnTo>
                  <a:lnTo>
                    <a:pt x="752" y="540"/>
                  </a:lnTo>
                  <a:lnTo>
                    <a:pt x="754" y="532"/>
                  </a:lnTo>
                  <a:lnTo>
                    <a:pt x="754" y="280"/>
                  </a:lnTo>
                  <a:lnTo>
                    <a:pt x="754" y="280"/>
                  </a:lnTo>
                  <a:lnTo>
                    <a:pt x="754" y="268"/>
                  </a:lnTo>
                  <a:lnTo>
                    <a:pt x="758" y="256"/>
                  </a:lnTo>
                  <a:lnTo>
                    <a:pt x="764" y="246"/>
                  </a:lnTo>
                  <a:lnTo>
                    <a:pt x="772" y="236"/>
                  </a:lnTo>
                  <a:lnTo>
                    <a:pt x="780" y="228"/>
                  </a:lnTo>
                  <a:lnTo>
                    <a:pt x="792" y="222"/>
                  </a:lnTo>
                  <a:lnTo>
                    <a:pt x="804" y="218"/>
                  </a:lnTo>
                  <a:lnTo>
                    <a:pt x="816" y="218"/>
                  </a:lnTo>
                  <a:lnTo>
                    <a:pt x="1054" y="218"/>
                  </a:lnTo>
                  <a:lnTo>
                    <a:pt x="1054" y="218"/>
                  </a:lnTo>
                  <a:lnTo>
                    <a:pt x="1064" y="216"/>
                  </a:lnTo>
                  <a:lnTo>
                    <a:pt x="1076" y="214"/>
                  </a:lnTo>
                  <a:lnTo>
                    <a:pt x="1100" y="208"/>
                  </a:lnTo>
                  <a:lnTo>
                    <a:pt x="1120" y="196"/>
                  </a:lnTo>
                  <a:lnTo>
                    <a:pt x="1130" y="190"/>
                  </a:lnTo>
                  <a:lnTo>
                    <a:pt x="1138" y="184"/>
                  </a:lnTo>
                  <a:lnTo>
                    <a:pt x="1324" y="2"/>
                  </a:lnTo>
                  <a:lnTo>
                    <a:pt x="1324" y="2"/>
                  </a:lnTo>
                  <a:lnTo>
                    <a:pt x="1328" y="0"/>
                  </a:lnTo>
                  <a:lnTo>
                    <a:pt x="1330" y="0"/>
                  </a:lnTo>
                  <a:lnTo>
                    <a:pt x="1334" y="0"/>
                  </a:lnTo>
                  <a:lnTo>
                    <a:pt x="1338" y="2"/>
                  </a:lnTo>
                  <a:lnTo>
                    <a:pt x="1338" y="2"/>
                  </a:lnTo>
                  <a:lnTo>
                    <a:pt x="1340" y="6"/>
                  </a:lnTo>
                  <a:lnTo>
                    <a:pt x="1340" y="10"/>
                  </a:lnTo>
                  <a:lnTo>
                    <a:pt x="1340" y="14"/>
                  </a:lnTo>
                  <a:lnTo>
                    <a:pt x="1338" y="16"/>
                  </a:lnTo>
                  <a:lnTo>
                    <a:pt x="1152" y="198"/>
                  </a:lnTo>
                  <a:lnTo>
                    <a:pt x="1152" y="198"/>
                  </a:lnTo>
                  <a:lnTo>
                    <a:pt x="1142" y="206"/>
                  </a:lnTo>
                  <a:lnTo>
                    <a:pt x="1132" y="214"/>
                  </a:lnTo>
                  <a:lnTo>
                    <a:pt x="1106" y="226"/>
                  </a:lnTo>
                  <a:lnTo>
                    <a:pt x="1080" y="234"/>
                  </a:lnTo>
                  <a:lnTo>
                    <a:pt x="1066" y="236"/>
                  </a:lnTo>
                  <a:lnTo>
                    <a:pt x="1054" y="238"/>
                  </a:lnTo>
                  <a:lnTo>
                    <a:pt x="816" y="238"/>
                  </a:lnTo>
                  <a:lnTo>
                    <a:pt x="816" y="238"/>
                  </a:lnTo>
                  <a:lnTo>
                    <a:pt x="808" y="238"/>
                  </a:lnTo>
                  <a:lnTo>
                    <a:pt x="800" y="240"/>
                  </a:lnTo>
                  <a:lnTo>
                    <a:pt x="792" y="244"/>
                  </a:lnTo>
                  <a:lnTo>
                    <a:pt x="786" y="250"/>
                  </a:lnTo>
                  <a:lnTo>
                    <a:pt x="780" y="256"/>
                  </a:lnTo>
                  <a:lnTo>
                    <a:pt x="776" y="264"/>
                  </a:lnTo>
                  <a:lnTo>
                    <a:pt x="774" y="272"/>
                  </a:lnTo>
                  <a:lnTo>
                    <a:pt x="774" y="280"/>
                  </a:lnTo>
                  <a:lnTo>
                    <a:pt x="774" y="532"/>
                  </a:lnTo>
                  <a:lnTo>
                    <a:pt x="774" y="532"/>
                  </a:lnTo>
                  <a:lnTo>
                    <a:pt x="772" y="544"/>
                  </a:lnTo>
                  <a:lnTo>
                    <a:pt x="768" y="556"/>
                  </a:lnTo>
                  <a:lnTo>
                    <a:pt x="762" y="566"/>
                  </a:lnTo>
                  <a:lnTo>
                    <a:pt x="754" y="576"/>
                  </a:lnTo>
                  <a:lnTo>
                    <a:pt x="746" y="584"/>
                  </a:lnTo>
                  <a:lnTo>
                    <a:pt x="734" y="590"/>
                  </a:lnTo>
                  <a:lnTo>
                    <a:pt x="722" y="594"/>
                  </a:lnTo>
                  <a:lnTo>
                    <a:pt x="710" y="594"/>
                  </a:lnTo>
                  <a:lnTo>
                    <a:pt x="470" y="594"/>
                  </a:lnTo>
                  <a:lnTo>
                    <a:pt x="470" y="594"/>
                  </a:lnTo>
                  <a:lnTo>
                    <a:pt x="460" y="596"/>
                  </a:lnTo>
                  <a:lnTo>
                    <a:pt x="452" y="598"/>
                  </a:lnTo>
                  <a:lnTo>
                    <a:pt x="446" y="602"/>
                  </a:lnTo>
                  <a:lnTo>
                    <a:pt x="438" y="608"/>
                  </a:lnTo>
                  <a:lnTo>
                    <a:pt x="434" y="614"/>
                  </a:lnTo>
                  <a:lnTo>
                    <a:pt x="430" y="622"/>
                  </a:lnTo>
                  <a:lnTo>
                    <a:pt x="428" y="630"/>
                  </a:lnTo>
                  <a:lnTo>
                    <a:pt x="426" y="638"/>
                  </a:lnTo>
                  <a:lnTo>
                    <a:pt x="426" y="878"/>
                  </a:lnTo>
                  <a:lnTo>
                    <a:pt x="426" y="878"/>
                  </a:lnTo>
                  <a:lnTo>
                    <a:pt x="426" y="892"/>
                  </a:lnTo>
                  <a:lnTo>
                    <a:pt x="422" y="904"/>
                  </a:lnTo>
                  <a:lnTo>
                    <a:pt x="416" y="914"/>
                  </a:lnTo>
                  <a:lnTo>
                    <a:pt x="408" y="924"/>
                  </a:lnTo>
                  <a:lnTo>
                    <a:pt x="398" y="932"/>
                  </a:lnTo>
                  <a:lnTo>
                    <a:pt x="388" y="936"/>
                  </a:lnTo>
                  <a:lnTo>
                    <a:pt x="376" y="940"/>
                  </a:lnTo>
                  <a:lnTo>
                    <a:pt x="364" y="942"/>
                  </a:lnTo>
                  <a:lnTo>
                    <a:pt x="364" y="942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3979863" y="4498975"/>
              <a:ext cx="266700" cy="263525"/>
            </a:xfrm>
            <a:custGeom>
              <a:avLst/>
              <a:gdLst>
                <a:gd name="T0" fmla="*/ 158 w 168"/>
                <a:gd name="T1" fmla="*/ 166 h 166"/>
                <a:gd name="T2" fmla="*/ 158 w 168"/>
                <a:gd name="T3" fmla="*/ 166 h 166"/>
                <a:gd name="T4" fmla="*/ 154 w 168"/>
                <a:gd name="T5" fmla="*/ 166 h 166"/>
                <a:gd name="T6" fmla="*/ 150 w 168"/>
                <a:gd name="T7" fmla="*/ 164 h 166"/>
                <a:gd name="T8" fmla="*/ 148 w 168"/>
                <a:gd name="T9" fmla="*/ 160 h 166"/>
                <a:gd name="T10" fmla="*/ 148 w 168"/>
                <a:gd name="T11" fmla="*/ 156 h 166"/>
                <a:gd name="T12" fmla="*/ 148 w 168"/>
                <a:gd name="T13" fmla="*/ 20 h 166"/>
                <a:gd name="T14" fmla="*/ 10 w 168"/>
                <a:gd name="T15" fmla="*/ 20 h 166"/>
                <a:gd name="T16" fmla="*/ 10 w 168"/>
                <a:gd name="T17" fmla="*/ 20 h 166"/>
                <a:gd name="T18" fmla="*/ 6 w 168"/>
                <a:gd name="T19" fmla="*/ 18 h 166"/>
                <a:gd name="T20" fmla="*/ 4 w 168"/>
                <a:gd name="T21" fmla="*/ 16 h 166"/>
                <a:gd name="T22" fmla="*/ 2 w 168"/>
                <a:gd name="T23" fmla="*/ 14 h 166"/>
                <a:gd name="T24" fmla="*/ 0 w 168"/>
                <a:gd name="T25" fmla="*/ 10 h 166"/>
                <a:gd name="T26" fmla="*/ 0 w 168"/>
                <a:gd name="T27" fmla="*/ 10 h 166"/>
                <a:gd name="T28" fmla="*/ 2 w 168"/>
                <a:gd name="T29" fmla="*/ 6 h 166"/>
                <a:gd name="T30" fmla="*/ 4 w 168"/>
                <a:gd name="T31" fmla="*/ 2 h 166"/>
                <a:gd name="T32" fmla="*/ 6 w 168"/>
                <a:gd name="T33" fmla="*/ 0 h 166"/>
                <a:gd name="T34" fmla="*/ 10 w 168"/>
                <a:gd name="T35" fmla="*/ 0 h 166"/>
                <a:gd name="T36" fmla="*/ 168 w 168"/>
                <a:gd name="T37" fmla="*/ 0 h 166"/>
                <a:gd name="T38" fmla="*/ 168 w 168"/>
                <a:gd name="T39" fmla="*/ 156 h 166"/>
                <a:gd name="T40" fmla="*/ 168 w 168"/>
                <a:gd name="T41" fmla="*/ 156 h 166"/>
                <a:gd name="T42" fmla="*/ 168 w 168"/>
                <a:gd name="T43" fmla="*/ 160 h 166"/>
                <a:gd name="T44" fmla="*/ 166 w 168"/>
                <a:gd name="T45" fmla="*/ 164 h 166"/>
                <a:gd name="T46" fmla="*/ 162 w 168"/>
                <a:gd name="T47" fmla="*/ 166 h 166"/>
                <a:gd name="T48" fmla="*/ 158 w 168"/>
                <a:gd name="T49" fmla="*/ 166 h 166"/>
                <a:gd name="T50" fmla="*/ 158 w 168"/>
                <a:gd name="T5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8" h="166">
                  <a:moveTo>
                    <a:pt x="158" y="166"/>
                  </a:moveTo>
                  <a:lnTo>
                    <a:pt x="158" y="166"/>
                  </a:lnTo>
                  <a:lnTo>
                    <a:pt x="154" y="166"/>
                  </a:lnTo>
                  <a:lnTo>
                    <a:pt x="150" y="164"/>
                  </a:lnTo>
                  <a:lnTo>
                    <a:pt x="148" y="160"/>
                  </a:lnTo>
                  <a:lnTo>
                    <a:pt x="148" y="156"/>
                  </a:lnTo>
                  <a:lnTo>
                    <a:pt x="148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68" y="0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60"/>
                  </a:lnTo>
                  <a:lnTo>
                    <a:pt x="166" y="164"/>
                  </a:lnTo>
                  <a:lnTo>
                    <a:pt x="162" y="166"/>
                  </a:lnTo>
                  <a:lnTo>
                    <a:pt x="158" y="166"/>
                  </a:lnTo>
                  <a:lnTo>
                    <a:pt x="158" y="166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427413" y="5794375"/>
              <a:ext cx="228600" cy="260350"/>
            </a:xfrm>
            <a:custGeom>
              <a:avLst/>
              <a:gdLst>
                <a:gd name="T0" fmla="*/ 120 w 144"/>
                <a:gd name="T1" fmla="*/ 142 h 164"/>
                <a:gd name="T2" fmla="*/ 98 w 144"/>
                <a:gd name="T3" fmla="*/ 158 h 164"/>
                <a:gd name="T4" fmla="*/ 76 w 144"/>
                <a:gd name="T5" fmla="*/ 164 h 164"/>
                <a:gd name="T6" fmla="*/ 60 w 144"/>
                <a:gd name="T7" fmla="*/ 162 h 164"/>
                <a:gd name="T8" fmla="*/ 30 w 144"/>
                <a:gd name="T9" fmla="*/ 150 h 164"/>
                <a:gd name="T10" fmla="*/ 12 w 144"/>
                <a:gd name="T11" fmla="*/ 128 h 164"/>
                <a:gd name="T12" fmla="*/ 2 w 144"/>
                <a:gd name="T13" fmla="*/ 100 h 164"/>
                <a:gd name="T14" fmla="*/ 0 w 144"/>
                <a:gd name="T15" fmla="*/ 82 h 164"/>
                <a:gd name="T16" fmla="*/ 4 w 144"/>
                <a:gd name="T17" fmla="*/ 50 h 164"/>
                <a:gd name="T18" fmla="*/ 20 w 144"/>
                <a:gd name="T19" fmla="*/ 24 h 164"/>
                <a:gd name="T20" fmla="*/ 44 w 144"/>
                <a:gd name="T21" fmla="*/ 6 h 164"/>
                <a:gd name="T22" fmla="*/ 76 w 144"/>
                <a:gd name="T23" fmla="*/ 0 h 164"/>
                <a:gd name="T24" fmla="*/ 88 w 144"/>
                <a:gd name="T25" fmla="*/ 2 h 164"/>
                <a:gd name="T26" fmla="*/ 110 w 144"/>
                <a:gd name="T27" fmla="*/ 8 h 164"/>
                <a:gd name="T28" fmla="*/ 128 w 144"/>
                <a:gd name="T29" fmla="*/ 22 h 164"/>
                <a:gd name="T30" fmla="*/ 140 w 144"/>
                <a:gd name="T31" fmla="*/ 42 h 164"/>
                <a:gd name="T32" fmla="*/ 110 w 144"/>
                <a:gd name="T33" fmla="*/ 56 h 164"/>
                <a:gd name="T34" fmla="*/ 104 w 144"/>
                <a:gd name="T35" fmla="*/ 44 h 164"/>
                <a:gd name="T36" fmla="*/ 88 w 144"/>
                <a:gd name="T37" fmla="*/ 30 h 164"/>
                <a:gd name="T38" fmla="*/ 76 w 144"/>
                <a:gd name="T39" fmla="*/ 30 h 164"/>
                <a:gd name="T40" fmla="*/ 56 w 144"/>
                <a:gd name="T41" fmla="*/ 34 h 164"/>
                <a:gd name="T42" fmla="*/ 44 w 144"/>
                <a:gd name="T43" fmla="*/ 46 h 164"/>
                <a:gd name="T44" fmla="*/ 36 w 144"/>
                <a:gd name="T45" fmla="*/ 62 h 164"/>
                <a:gd name="T46" fmla="*/ 34 w 144"/>
                <a:gd name="T47" fmla="*/ 82 h 164"/>
                <a:gd name="T48" fmla="*/ 34 w 144"/>
                <a:gd name="T49" fmla="*/ 92 h 164"/>
                <a:gd name="T50" fmla="*/ 40 w 144"/>
                <a:gd name="T51" fmla="*/ 110 h 164"/>
                <a:gd name="T52" fmla="*/ 50 w 144"/>
                <a:gd name="T53" fmla="*/ 126 h 164"/>
                <a:gd name="T54" fmla="*/ 66 w 144"/>
                <a:gd name="T55" fmla="*/ 134 h 164"/>
                <a:gd name="T56" fmla="*/ 76 w 144"/>
                <a:gd name="T57" fmla="*/ 134 h 164"/>
                <a:gd name="T58" fmla="*/ 92 w 144"/>
                <a:gd name="T59" fmla="*/ 132 h 164"/>
                <a:gd name="T60" fmla="*/ 102 w 144"/>
                <a:gd name="T61" fmla="*/ 126 h 164"/>
                <a:gd name="T62" fmla="*/ 110 w 144"/>
                <a:gd name="T63" fmla="*/ 116 h 164"/>
                <a:gd name="T64" fmla="*/ 78 w 144"/>
                <a:gd name="T65" fmla="*/ 102 h 164"/>
                <a:gd name="T66" fmla="*/ 144 w 144"/>
                <a:gd name="T67" fmla="*/ 76 h 164"/>
                <a:gd name="T68" fmla="*/ 122 w 144"/>
                <a:gd name="T69" fmla="*/ 16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164">
                  <a:moveTo>
                    <a:pt x="120" y="142"/>
                  </a:moveTo>
                  <a:lnTo>
                    <a:pt x="120" y="142"/>
                  </a:lnTo>
                  <a:lnTo>
                    <a:pt x="110" y="152"/>
                  </a:lnTo>
                  <a:lnTo>
                    <a:pt x="98" y="158"/>
                  </a:lnTo>
                  <a:lnTo>
                    <a:pt x="88" y="162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60" y="162"/>
                  </a:lnTo>
                  <a:lnTo>
                    <a:pt x="44" y="158"/>
                  </a:lnTo>
                  <a:lnTo>
                    <a:pt x="30" y="150"/>
                  </a:lnTo>
                  <a:lnTo>
                    <a:pt x="20" y="140"/>
                  </a:lnTo>
                  <a:lnTo>
                    <a:pt x="12" y="128"/>
                  </a:lnTo>
                  <a:lnTo>
                    <a:pt x="4" y="114"/>
                  </a:lnTo>
                  <a:lnTo>
                    <a:pt x="2" y="100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66"/>
                  </a:lnTo>
                  <a:lnTo>
                    <a:pt x="4" y="50"/>
                  </a:lnTo>
                  <a:lnTo>
                    <a:pt x="12" y="36"/>
                  </a:lnTo>
                  <a:lnTo>
                    <a:pt x="20" y="24"/>
                  </a:lnTo>
                  <a:lnTo>
                    <a:pt x="30" y="14"/>
                  </a:lnTo>
                  <a:lnTo>
                    <a:pt x="44" y="6"/>
                  </a:lnTo>
                  <a:lnTo>
                    <a:pt x="6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8" y="2"/>
                  </a:lnTo>
                  <a:lnTo>
                    <a:pt x="100" y="4"/>
                  </a:lnTo>
                  <a:lnTo>
                    <a:pt x="110" y="8"/>
                  </a:lnTo>
                  <a:lnTo>
                    <a:pt x="120" y="14"/>
                  </a:lnTo>
                  <a:lnTo>
                    <a:pt x="128" y="22"/>
                  </a:lnTo>
                  <a:lnTo>
                    <a:pt x="134" y="32"/>
                  </a:lnTo>
                  <a:lnTo>
                    <a:pt x="140" y="42"/>
                  </a:lnTo>
                  <a:lnTo>
                    <a:pt x="142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4" y="44"/>
                  </a:lnTo>
                  <a:lnTo>
                    <a:pt x="98" y="36"/>
                  </a:lnTo>
                  <a:lnTo>
                    <a:pt x="88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66" y="30"/>
                  </a:lnTo>
                  <a:lnTo>
                    <a:pt x="56" y="34"/>
                  </a:lnTo>
                  <a:lnTo>
                    <a:pt x="50" y="38"/>
                  </a:lnTo>
                  <a:lnTo>
                    <a:pt x="44" y="46"/>
                  </a:lnTo>
                  <a:lnTo>
                    <a:pt x="40" y="54"/>
                  </a:lnTo>
                  <a:lnTo>
                    <a:pt x="36" y="62"/>
                  </a:lnTo>
                  <a:lnTo>
                    <a:pt x="34" y="7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92"/>
                  </a:lnTo>
                  <a:lnTo>
                    <a:pt x="36" y="102"/>
                  </a:lnTo>
                  <a:lnTo>
                    <a:pt x="40" y="110"/>
                  </a:lnTo>
                  <a:lnTo>
                    <a:pt x="44" y="118"/>
                  </a:lnTo>
                  <a:lnTo>
                    <a:pt x="50" y="126"/>
                  </a:lnTo>
                  <a:lnTo>
                    <a:pt x="56" y="130"/>
                  </a:lnTo>
                  <a:lnTo>
                    <a:pt x="66" y="134"/>
                  </a:lnTo>
                  <a:lnTo>
                    <a:pt x="76" y="134"/>
                  </a:lnTo>
                  <a:lnTo>
                    <a:pt x="76" y="134"/>
                  </a:lnTo>
                  <a:lnTo>
                    <a:pt x="84" y="134"/>
                  </a:lnTo>
                  <a:lnTo>
                    <a:pt x="92" y="132"/>
                  </a:lnTo>
                  <a:lnTo>
                    <a:pt x="98" y="130"/>
                  </a:lnTo>
                  <a:lnTo>
                    <a:pt x="102" y="126"/>
                  </a:lnTo>
                  <a:lnTo>
                    <a:pt x="106" y="122"/>
                  </a:lnTo>
                  <a:lnTo>
                    <a:pt x="110" y="116"/>
                  </a:lnTo>
                  <a:lnTo>
                    <a:pt x="114" y="102"/>
                  </a:lnTo>
                  <a:lnTo>
                    <a:pt x="78" y="102"/>
                  </a:lnTo>
                  <a:lnTo>
                    <a:pt x="78" y="76"/>
                  </a:lnTo>
                  <a:lnTo>
                    <a:pt x="144" y="76"/>
                  </a:lnTo>
                  <a:lnTo>
                    <a:pt x="144" y="160"/>
                  </a:lnTo>
                  <a:lnTo>
                    <a:pt x="122" y="160"/>
                  </a:lnTo>
                  <a:lnTo>
                    <a:pt x="120" y="142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694113" y="5864225"/>
              <a:ext cx="117475" cy="184150"/>
            </a:xfrm>
            <a:custGeom>
              <a:avLst/>
              <a:gdLst>
                <a:gd name="T0" fmla="*/ 0 w 74"/>
                <a:gd name="T1" fmla="*/ 4 h 116"/>
                <a:gd name="T2" fmla="*/ 30 w 74"/>
                <a:gd name="T3" fmla="*/ 4 h 116"/>
                <a:gd name="T4" fmla="*/ 30 w 74"/>
                <a:gd name="T5" fmla="*/ 24 h 116"/>
                <a:gd name="T6" fmla="*/ 30 w 74"/>
                <a:gd name="T7" fmla="*/ 24 h 116"/>
                <a:gd name="T8" fmla="*/ 30 w 74"/>
                <a:gd name="T9" fmla="*/ 24 h 116"/>
                <a:gd name="T10" fmla="*/ 36 w 74"/>
                <a:gd name="T11" fmla="*/ 14 h 116"/>
                <a:gd name="T12" fmla="*/ 46 w 74"/>
                <a:gd name="T13" fmla="*/ 6 h 116"/>
                <a:gd name="T14" fmla="*/ 56 w 74"/>
                <a:gd name="T15" fmla="*/ 2 h 116"/>
                <a:gd name="T16" fmla="*/ 66 w 74"/>
                <a:gd name="T17" fmla="*/ 0 h 116"/>
                <a:gd name="T18" fmla="*/ 66 w 74"/>
                <a:gd name="T19" fmla="*/ 0 h 116"/>
                <a:gd name="T20" fmla="*/ 74 w 74"/>
                <a:gd name="T21" fmla="*/ 2 h 116"/>
                <a:gd name="T22" fmla="*/ 74 w 74"/>
                <a:gd name="T23" fmla="*/ 30 h 116"/>
                <a:gd name="T24" fmla="*/ 74 w 74"/>
                <a:gd name="T25" fmla="*/ 30 h 116"/>
                <a:gd name="T26" fmla="*/ 62 w 74"/>
                <a:gd name="T27" fmla="*/ 28 h 116"/>
                <a:gd name="T28" fmla="*/ 62 w 74"/>
                <a:gd name="T29" fmla="*/ 28 h 116"/>
                <a:gd name="T30" fmla="*/ 54 w 74"/>
                <a:gd name="T31" fmla="*/ 30 h 116"/>
                <a:gd name="T32" fmla="*/ 48 w 74"/>
                <a:gd name="T33" fmla="*/ 32 h 116"/>
                <a:gd name="T34" fmla="*/ 42 w 74"/>
                <a:gd name="T35" fmla="*/ 36 h 116"/>
                <a:gd name="T36" fmla="*/ 38 w 74"/>
                <a:gd name="T37" fmla="*/ 40 h 116"/>
                <a:gd name="T38" fmla="*/ 36 w 74"/>
                <a:gd name="T39" fmla="*/ 44 h 116"/>
                <a:gd name="T40" fmla="*/ 34 w 74"/>
                <a:gd name="T41" fmla="*/ 52 h 116"/>
                <a:gd name="T42" fmla="*/ 32 w 74"/>
                <a:gd name="T43" fmla="*/ 66 h 116"/>
                <a:gd name="T44" fmla="*/ 32 w 74"/>
                <a:gd name="T45" fmla="*/ 116 h 116"/>
                <a:gd name="T46" fmla="*/ 0 w 74"/>
                <a:gd name="T47" fmla="*/ 116 h 116"/>
                <a:gd name="T48" fmla="*/ 0 w 74"/>
                <a:gd name="T49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4" h="116">
                  <a:moveTo>
                    <a:pt x="0" y="4"/>
                  </a:moveTo>
                  <a:lnTo>
                    <a:pt x="30" y="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6" y="14"/>
                  </a:lnTo>
                  <a:lnTo>
                    <a:pt x="46" y="6"/>
                  </a:lnTo>
                  <a:lnTo>
                    <a:pt x="56" y="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4" y="2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54" y="30"/>
                  </a:lnTo>
                  <a:lnTo>
                    <a:pt x="48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6" y="44"/>
                  </a:lnTo>
                  <a:lnTo>
                    <a:pt x="34" y="52"/>
                  </a:lnTo>
                  <a:lnTo>
                    <a:pt x="32" y="66"/>
                  </a:lnTo>
                  <a:lnTo>
                    <a:pt x="32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3817938" y="5864225"/>
              <a:ext cx="187325" cy="187325"/>
            </a:xfrm>
            <a:custGeom>
              <a:avLst/>
              <a:gdLst>
                <a:gd name="T0" fmla="*/ 58 w 118"/>
                <a:gd name="T1" fmla="*/ 0 h 118"/>
                <a:gd name="T2" fmla="*/ 82 w 118"/>
                <a:gd name="T3" fmla="*/ 4 h 118"/>
                <a:gd name="T4" fmla="*/ 102 w 118"/>
                <a:gd name="T5" fmla="*/ 16 h 118"/>
                <a:gd name="T6" fmla="*/ 112 w 118"/>
                <a:gd name="T7" fmla="*/ 36 h 118"/>
                <a:gd name="T8" fmla="*/ 118 w 118"/>
                <a:gd name="T9" fmla="*/ 60 h 118"/>
                <a:gd name="T10" fmla="*/ 116 w 118"/>
                <a:gd name="T11" fmla="*/ 72 h 118"/>
                <a:gd name="T12" fmla="*/ 108 w 118"/>
                <a:gd name="T13" fmla="*/ 94 h 118"/>
                <a:gd name="T14" fmla="*/ 92 w 118"/>
                <a:gd name="T15" fmla="*/ 110 h 118"/>
                <a:gd name="T16" fmla="*/ 72 w 118"/>
                <a:gd name="T17" fmla="*/ 118 h 118"/>
                <a:gd name="T18" fmla="*/ 58 w 118"/>
                <a:gd name="T19" fmla="*/ 118 h 118"/>
                <a:gd name="T20" fmla="*/ 34 w 118"/>
                <a:gd name="T21" fmla="*/ 114 h 118"/>
                <a:gd name="T22" fmla="*/ 16 w 118"/>
                <a:gd name="T23" fmla="*/ 102 h 118"/>
                <a:gd name="T24" fmla="*/ 4 w 118"/>
                <a:gd name="T25" fmla="*/ 84 h 118"/>
                <a:gd name="T26" fmla="*/ 0 w 118"/>
                <a:gd name="T27" fmla="*/ 60 h 118"/>
                <a:gd name="T28" fmla="*/ 2 w 118"/>
                <a:gd name="T29" fmla="*/ 46 h 118"/>
                <a:gd name="T30" fmla="*/ 10 w 118"/>
                <a:gd name="T31" fmla="*/ 24 h 118"/>
                <a:gd name="T32" fmla="*/ 24 w 118"/>
                <a:gd name="T33" fmla="*/ 10 h 118"/>
                <a:gd name="T34" fmla="*/ 46 w 118"/>
                <a:gd name="T35" fmla="*/ 2 h 118"/>
                <a:gd name="T36" fmla="*/ 58 w 118"/>
                <a:gd name="T37" fmla="*/ 0 h 118"/>
                <a:gd name="T38" fmla="*/ 58 w 118"/>
                <a:gd name="T39" fmla="*/ 96 h 118"/>
                <a:gd name="T40" fmla="*/ 72 w 118"/>
                <a:gd name="T41" fmla="*/ 92 h 118"/>
                <a:gd name="T42" fmla="*/ 80 w 118"/>
                <a:gd name="T43" fmla="*/ 84 h 118"/>
                <a:gd name="T44" fmla="*/ 86 w 118"/>
                <a:gd name="T45" fmla="*/ 60 h 118"/>
                <a:gd name="T46" fmla="*/ 84 w 118"/>
                <a:gd name="T47" fmla="*/ 46 h 118"/>
                <a:gd name="T48" fmla="*/ 76 w 118"/>
                <a:gd name="T49" fmla="*/ 30 h 118"/>
                <a:gd name="T50" fmla="*/ 66 w 118"/>
                <a:gd name="T51" fmla="*/ 24 h 118"/>
                <a:gd name="T52" fmla="*/ 58 w 118"/>
                <a:gd name="T53" fmla="*/ 24 h 118"/>
                <a:gd name="T54" fmla="*/ 46 w 118"/>
                <a:gd name="T55" fmla="*/ 26 h 118"/>
                <a:gd name="T56" fmla="*/ 38 w 118"/>
                <a:gd name="T57" fmla="*/ 34 h 118"/>
                <a:gd name="T58" fmla="*/ 32 w 118"/>
                <a:gd name="T59" fmla="*/ 60 h 118"/>
                <a:gd name="T60" fmla="*/ 32 w 118"/>
                <a:gd name="T61" fmla="*/ 72 h 118"/>
                <a:gd name="T62" fmla="*/ 40 w 118"/>
                <a:gd name="T63" fmla="*/ 88 h 118"/>
                <a:gd name="T64" fmla="*/ 52 w 118"/>
                <a:gd name="T65" fmla="*/ 94 h 118"/>
                <a:gd name="T66" fmla="*/ 58 w 118"/>
                <a:gd name="T67" fmla="*/ 9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118">
                  <a:moveTo>
                    <a:pt x="58" y="0"/>
                  </a:moveTo>
                  <a:lnTo>
                    <a:pt x="58" y="0"/>
                  </a:lnTo>
                  <a:lnTo>
                    <a:pt x="72" y="2"/>
                  </a:lnTo>
                  <a:lnTo>
                    <a:pt x="82" y="4"/>
                  </a:lnTo>
                  <a:lnTo>
                    <a:pt x="92" y="10"/>
                  </a:lnTo>
                  <a:lnTo>
                    <a:pt x="102" y="16"/>
                  </a:lnTo>
                  <a:lnTo>
                    <a:pt x="108" y="24"/>
                  </a:lnTo>
                  <a:lnTo>
                    <a:pt x="112" y="36"/>
                  </a:lnTo>
                  <a:lnTo>
                    <a:pt x="116" y="46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6" y="72"/>
                  </a:lnTo>
                  <a:lnTo>
                    <a:pt x="112" y="8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2" y="110"/>
                  </a:lnTo>
                  <a:lnTo>
                    <a:pt x="82" y="114"/>
                  </a:lnTo>
                  <a:lnTo>
                    <a:pt x="72" y="118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46" y="118"/>
                  </a:lnTo>
                  <a:lnTo>
                    <a:pt x="34" y="114"/>
                  </a:lnTo>
                  <a:lnTo>
                    <a:pt x="24" y="110"/>
                  </a:lnTo>
                  <a:lnTo>
                    <a:pt x="16" y="102"/>
                  </a:lnTo>
                  <a:lnTo>
                    <a:pt x="10" y="94"/>
                  </a:lnTo>
                  <a:lnTo>
                    <a:pt x="4" y="84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6"/>
                  </a:lnTo>
                  <a:lnTo>
                    <a:pt x="4" y="36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58" y="96"/>
                  </a:moveTo>
                  <a:lnTo>
                    <a:pt x="58" y="96"/>
                  </a:lnTo>
                  <a:lnTo>
                    <a:pt x="66" y="94"/>
                  </a:lnTo>
                  <a:lnTo>
                    <a:pt x="72" y="92"/>
                  </a:lnTo>
                  <a:lnTo>
                    <a:pt x="76" y="88"/>
                  </a:lnTo>
                  <a:lnTo>
                    <a:pt x="80" y="84"/>
                  </a:lnTo>
                  <a:lnTo>
                    <a:pt x="84" y="72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4" y="46"/>
                  </a:lnTo>
                  <a:lnTo>
                    <a:pt x="80" y="34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66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2" y="24"/>
                  </a:lnTo>
                  <a:lnTo>
                    <a:pt x="46" y="26"/>
                  </a:lnTo>
                  <a:lnTo>
                    <a:pt x="40" y="30"/>
                  </a:lnTo>
                  <a:lnTo>
                    <a:pt x="38" y="34"/>
                  </a:lnTo>
                  <a:lnTo>
                    <a:pt x="32" y="4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72"/>
                  </a:lnTo>
                  <a:lnTo>
                    <a:pt x="38" y="84"/>
                  </a:lnTo>
                  <a:lnTo>
                    <a:pt x="40" y="88"/>
                  </a:lnTo>
                  <a:lnTo>
                    <a:pt x="46" y="92"/>
                  </a:lnTo>
                  <a:lnTo>
                    <a:pt x="52" y="94"/>
                  </a:lnTo>
                  <a:lnTo>
                    <a:pt x="58" y="96"/>
                  </a:lnTo>
                  <a:lnTo>
                    <a:pt x="58" y="96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037013" y="5870575"/>
              <a:ext cx="165100" cy="180975"/>
            </a:xfrm>
            <a:custGeom>
              <a:avLst/>
              <a:gdLst>
                <a:gd name="T0" fmla="*/ 104 w 104"/>
                <a:gd name="T1" fmla="*/ 112 h 114"/>
                <a:gd name="T2" fmla="*/ 76 w 104"/>
                <a:gd name="T3" fmla="*/ 112 h 114"/>
                <a:gd name="T4" fmla="*/ 76 w 104"/>
                <a:gd name="T5" fmla="*/ 96 h 114"/>
                <a:gd name="T6" fmla="*/ 74 w 104"/>
                <a:gd name="T7" fmla="*/ 96 h 114"/>
                <a:gd name="T8" fmla="*/ 74 w 104"/>
                <a:gd name="T9" fmla="*/ 96 h 114"/>
                <a:gd name="T10" fmla="*/ 68 w 104"/>
                <a:gd name="T11" fmla="*/ 104 h 114"/>
                <a:gd name="T12" fmla="*/ 60 w 104"/>
                <a:gd name="T13" fmla="*/ 110 h 114"/>
                <a:gd name="T14" fmla="*/ 50 w 104"/>
                <a:gd name="T15" fmla="*/ 114 h 114"/>
                <a:gd name="T16" fmla="*/ 40 w 104"/>
                <a:gd name="T17" fmla="*/ 114 h 114"/>
                <a:gd name="T18" fmla="*/ 40 w 104"/>
                <a:gd name="T19" fmla="*/ 114 h 114"/>
                <a:gd name="T20" fmla="*/ 30 w 104"/>
                <a:gd name="T21" fmla="*/ 114 h 114"/>
                <a:gd name="T22" fmla="*/ 20 w 104"/>
                <a:gd name="T23" fmla="*/ 112 h 114"/>
                <a:gd name="T24" fmla="*/ 12 w 104"/>
                <a:gd name="T25" fmla="*/ 108 h 114"/>
                <a:gd name="T26" fmla="*/ 8 w 104"/>
                <a:gd name="T27" fmla="*/ 102 h 114"/>
                <a:gd name="T28" fmla="*/ 4 w 104"/>
                <a:gd name="T29" fmla="*/ 96 h 114"/>
                <a:gd name="T30" fmla="*/ 0 w 104"/>
                <a:gd name="T31" fmla="*/ 88 h 114"/>
                <a:gd name="T32" fmla="*/ 0 w 104"/>
                <a:gd name="T33" fmla="*/ 68 h 114"/>
                <a:gd name="T34" fmla="*/ 0 w 104"/>
                <a:gd name="T35" fmla="*/ 0 h 114"/>
                <a:gd name="T36" fmla="*/ 30 w 104"/>
                <a:gd name="T37" fmla="*/ 0 h 114"/>
                <a:gd name="T38" fmla="*/ 30 w 104"/>
                <a:gd name="T39" fmla="*/ 62 h 114"/>
                <a:gd name="T40" fmla="*/ 30 w 104"/>
                <a:gd name="T41" fmla="*/ 62 h 114"/>
                <a:gd name="T42" fmla="*/ 32 w 104"/>
                <a:gd name="T43" fmla="*/ 74 h 114"/>
                <a:gd name="T44" fmla="*/ 34 w 104"/>
                <a:gd name="T45" fmla="*/ 84 h 114"/>
                <a:gd name="T46" fmla="*/ 40 w 104"/>
                <a:gd name="T47" fmla="*/ 88 h 114"/>
                <a:gd name="T48" fmla="*/ 50 w 104"/>
                <a:gd name="T49" fmla="*/ 90 h 114"/>
                <a:gd name="T50" fmla="*/ 50 w 104"/>
                <a:gd name="T51" fmla="*/ 90 h 114"/>
                <a:gd name="T52" fmla="*/ 60 w 104"/>
                <a:gd name="T53" fmla="*/ 88 h 114"/>
                <a:gd name="T54" fmla="*/ 64 w 104"/>
                <a:gd name="T55" fmla="*/ 86 h 114"/>
                <a:gd name="T56" fmla="*/ 68 w 104"/>
                <a:gd name="T57" fmla="*/ 82 h 114"/>
                <a:gd name="T58" fmla="*/ 72 w 104"/>
                <a:gd name="T59" fmla="*/ 72 h 114"/>
                <a:gd name="T60" fmla="*/ 74 w 104"/>
                <a:gd name="T61" fmla="*/ 58 h 114"/>
                <a:gd name="T62" fmla="*/ 74 w 104"/>
                <a:gd name="T63" fmla="*/ 0 h 114"/>
                <a:gd name="T64" fmla="*/ 104 w 104"/>
                <a:gd name="T65" fmla="*/ 0 h 114"/>
                <a:gd name="T66" fmla="*/ 104 w 104"/>
                <a:gd name="T67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4">
                  <a:moveTo>
                    <a:pt x="104" y="112"/>
                  </a:moveTo>
                  <a:lnTo>
                    <a:pt x="76" y="112"/>
                  </a:lnTo>
                  <a:lnTo>
                    <a:pt x="76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68" y="104"/>
                  </a:lnTo>
                  <a:lnTo>
                    <a:pt x="60" y="110"/>
                  </a:lnTo>
                  <a:lnTo>
                    <a:pt x="50" y="114"/>
                  </a:lnTo>
                  <a:lnTo>
                    <a:pt x="40" y="114"/>
                  </a:lnTo>
                  <a:lnTo>
                    <a:pt x="40" y="114"/>
                  </a:lnTo>
                  <a:lnTo>
                    <a:pt x="30" y="114"/>
                  </a:lnTo>
                  <a:lnTo>
                    <a:pt x="20" y="112"/>
                  </a:lnTo>
                  <a:lnTo>
                    <a:pt x="12" y="108"/>
                  </a:lnTo>
                  <a:lnTo>
                    <a:pt x="8" y="102"/>
                  </a:lnTo>
                  <a:lnTo>
                    <a:pt x="4" y="96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2" y="74"/>
                  </a:lnTo>
                  <a:lnTo>
                    <a:pt x="34" y="84"/>
                  </a:lnTo>
                  <a:lnTo>
                    <a:pt x="40" y="88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60" y="88"/>
                  </a:lnTo>
                  <a:lnTo>
                    <a:pt x="64" y="86"/>
                  </a:lnTo>
                  <a:lnTo>
                    <a:pt x="68" y="82"/>
                  </a:lnTo>
                  <a:lnTo>
                    <a:pt x="72" y="72"/>
                  </a:lnTo>
                  <a:lnTo>
                    <a:pt x="74" y="58"/>
                  </a:lnTo>
                  <a:lnTo>
                    <a:pt x="74" y="0"/>
                  </a:lnTo>
                  <a:lnTo>
                    <a:pt x="104" y="0"/>
                  </a:lnTo>
                  <a:lnTo>
                    <a:pt x="104" y="112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4240213" y="5864225"/>
              <a:ext cx="184150" cy="247650"/>
            </a:xfrm>
            <a:custGeom>
              <a:avLst/>
              <a:gdLst>
                <a:gd name="T0" fmla="*/ 30 w 116"/>
                <a:gd name="T1" fmla="*/ 4 h 156"/>
                <a:gd name="T2" fmla="*/ 30 w 116"/>
                <a:gd name="T3" fmla="*/ 18 h 156"/>
                <a:gd name="T4" fmla="*/ 36 w 116"/>
                <a:gd name="T5" fmla="*/ 10 h 156"/>
                <a:gd name="T6" fmla="*/ 54 w 116"/>
                <a:gd name="T7" fmla="*/ 2 h 156"/>
                <a:gd name="T8" fmla="*/ 64 w 116"/>
                <a:gd name="T9" fmla="*/ 0 h 156"/>
                <a:gd name="T10" fmla="*/ 86 w 116"/>
                <a:gd name="T11" fmla="*/ 4 h 156"/>
                <a:gd name="T12" fmla="*/ 102 w 116"/>
                <a:gd name="T13" fmla="*/ 18 h 156"/>
                <a:gd name="T14" fmla="*/ 112 w 116"/>
                <a:gd name="T15" fmla="*/ 38 h 156"/>
                <a:gd name="T16" fmla="*/ 116 w 116"/>
                <a:gd name="T17" fmla="*/ 60 h 156"/>
                <a:gd name="T18" fmla="*/ 114 w 116"/>
                <a:gd name="T19" fmla="*/ 72 h 156"/>
                <a:gd name="T20" fmla="*/ 108 w 116"/>
                <a:gd name="T21" fmla="*/ 92 h 156"/>
                <a:gd name="T22" fmla="*/ 96 w 116"/>
                <a:gd name="T23" fmla="*/ 108 h 156"/>
                <a:gd name="T24" fmla="*/ 78 w 116"/>
                <a:gd name="T25" fmla="*/ 118 h 156"/>
                <a:gd name="T26" fmla="*/ 66 w 116"/>
                <a:gd name="T27" fmla="*/ 118 h 156"/>
                <a:gd name="T28" fmla="*/ 46 w 116"/>
                <a:gd name="T29" fmla="*/ 114 h 156"/>
                <a:gd name="T30" fmla="*/ 32 w 116"/>
                <a:gd name="T31" fmla="*/ 102 h 156"/>
                <a:gd name="T32" fmla="*/ 32 w 116"/>
                <a:gd name="T33" fmla="*/ 156 h 156"/>
                <a:gd name="T34" fmla="*/ 0 w 116"/>
                <a:gd name="T35" fmla="*/ 4 h 156"/>
                <a:gd name="T36" fmla="*/ 84 w 116"/>
                <a:gd name="T37" fmla="*/ 60 h 156"/>
                <a:gd name="T38" fmla="*/ 78 w 116"/>
                <a:gd name="T39" fmla="*/ 34 h 156"/>
                <a:gd name="T40" fmla="*/ 70 w 116"/>
                <a:gd name="T41" fmla="*/ 26 h 156"/>
                <a:gd name="T42" fmla="*/ 58 w 116"/>
                <a:gd name="T43" fmla="*/ 24 h 156"/>
                <a:gd name="T44" fmla="*/ 50 w 116"/>
                <a:gd name="T45" fmla="*/ 24 h 156"/>
                <a:gd name="T46" fmla="*/ 40 w 116"/>
                <a:gd name="T47" fmla="*/ 30 h 156"/>
                <a:gd name="T48" fmla="*/ 32 w 116"/>
                <a:gd name="T49" fmla="*/ 46 h 156"/>
                <a:gd name="T50" fmla="*/ 30 w 116"/>
                <a:gd name="T51" fmla="*/ 60 h 156"/>
                <a:gd name="T52" fmla="*/ 36 w 116"/>
                <a:gd name="T53" fmla="*/ 84 h 156"/>
                <a:gd name="T54" fmla="*/ 44 w 116"/>
                <a:gd name="T55" fmla="*/ 92 h 156"/>
                <a:gd name="T56" fmla="*/ 58 w 116"/>
                <a:gd name="T57" fmla="*/ 96 h 156"/>
                <a:gd name="T58" fmla="*/ 64 w 116"/>
                <a:gd name="T59" fmla="*/ 94 h 156"/>
                <a:gd name="T60" fmla="*/ 74 w 116"/>
                <a:gd name="T61" fmla="*/ 90 h 156"/>
                <a:gd name="T62" fmla="*/ 84 w 116"/>
                <a:gd name="T63" fmla="*/ 74 h 156"/>
                <a:gd name="T64" fmla="*/ 84 w 116"/>
                <a:gd name="T65" fmla="*/ 6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6" h="156">
                  <a:moveTo>
                    <a:pt x="0" y="4"/>
                  </a:moveTo>
                  <a:lnTo>
                    <a:pt x="30" y="4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0"/>
                  </a:lnTo>
                  <a:lnTo>
                    <a:pt x="44" y="4"/>
                  </a:lnTo>
                  <a:lnTo>
                    <a:pt x="54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6" y="4"/>
                  </a:lnTo>
                  <a:lnTo>
                    <a:pt x="96" y="10"/>
                  </a:lnTo>
                  <a:lnTo>
                    <a:pt x="102" y="18"/>
                  </a:lnTo>
                  <a:lnTo>
                    <a:pt x="108" y="28"/>
                  </a:lnTo>
                  <a:lnTo>
                    <a:pt x="112" y="38"/>
                  </a:lnTo>
                  <a:lnTo>
                    <a:pt x="114" y="48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4" y="72"/>
                  </a:lnTo>
                  <a:lnTo>
                    <a:pt x="112" y="82"/>
                  </a:lnTo>
                  <a:lnTo>
                    <a:pt x="108" y="92"/>
                  </a:lnTo>
                  <a:lnTo>
                    <a:pt x="102" y="102"/>
                  </a:lnTo>
                  <a:lnTo>
                    <a:pt x="96" y="108"/>
                  </a:lnTo>
                  <a:lnTo>
                    <a:pt x="88" y="114"/>
                  </a:lnTo>
                  <a:lnTo>
                    <a:pt x="78" y="118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6" y="118"/>
                  </a:lnTo>
                  <a:lnTo>
                    <a:pt x="46" y="114"/>
                  </a:lnTo>
                  <a:lnTo>
                    <a:pt x="38" y="110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56"/>
                  </a:lnTo>
                  <a:lnTo>
                    <a:pt x="0" y="156"/>
                  </a:lnTo>
                  <a:lnTo>
                    <a:pt x="0" y="4"/>
                  </a:lnTo>
                  <a:close/>
                  <a:moveTo>
                    <a:pt x="84" y="60"/>
                  </a:moveTo>
                  <a:lnTo>
                    <a:pt x="84" y="60"/>
                  </a:lnTo>
                  <a:lnTo>
                    <a:pt x="82" y="46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70" y="26"/>
                  </a:lnTo>
                  <a:lnTo>
                    <a:pt x="64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0" y="24"/>
                  </a:lnTo>
                  <a:lnTo>
                    <a:pt x="44" y="26"/>
                  </a:lnTo>
                  <a:lnTo>
                    <a:pt x="40" y="30"/>
                  </a:lnTo>
                  <a:lnTo>
                    <a:pt x="36" y="34"/>
                  </a:lnTo>
                  <a:lnTo>
                    <a:pt x="32" y="4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74"/>
                  </a:lnTo>
                  <a:lnTo>
                    <a:pt x="36" y="84"/>
                  </a:lnTo>
                  <a:lnTo>
                    <a:pt x="40" y="90"/>
                  </a:lnTo>
                  <a:lnTo>
                    <a:pt x="44" y="92"/>
                  </a:lnTo>
                  <a:lnTo>
                    <a:pt x="50" y="94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64" y="94"/>
                  </a:lnTo>
                  <a:lnTo>
                    <a:pt x="70" y="92"/>
                  </a:lnTo>
                  <a:lnTo>
                    <a:pt x="74" y="90"/>
                  </a:lnTo>
                  <a:lnTo>
                    <a:pt x="78" y="84"/>
                  </a:lnTo>
                  <a:lnTo>
                    <a:pt x="84" y="74"/>
                  </a:lnTo>
                  <a:lnTo>
                    <a:pt x="84" y="60"/>
                  </a:lnTo>
                  <a:lnTo>
                    <a:pt x="84" y="60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4545013" y="5794375"/>
              <a:ext cx="222250" cy="260350"/>
            </a:xfrm>
            <a:custGeom>
              <a:avLst/>
              <a:gdLst>
                <a:gd name="T0" fmla="*/ 118 w 140"/>
                <a:gd name="T1" fmla="*/ 50 h 164"/>
                <a:gd name="T2" fmla="*/ 112 w 140"/>
                <a:gd name="T3" fmla="*/ 36 h 164"/>
                <a:gd name="T4" fmla="*/ 102 w 140"/>
                <a:gd name="T5" fmla="*/ 26 h 164"/>
                <a:gd name="T6" fmla="*/ 90 w 140"/>
                <a:gd name="T7" fmla="*/ 20 h 164"/>
                <a:gd name="T8" fmla="*/ 74 w 140"/>
                <a:gd name="T9" fmla="*/ 18 h 164"/>
                <a:gd name="T10" fmla="*/ 50 w 140"/>
                <a:gd name="T11" fmla="*/ 24 h 164"/>
                <a:gd name="T12" fmla="*/ 34 w 140"/>
                <a:gd name="T13" fmla="*/ 38 h 164"/>
                <a:gd name="T14" fmla="*/ 24 w 140"/>
                <a:gd name="T15" fmla="*/ 58 h 164"/>
                <a:gd name="T16" fmla="*/ 20 w 140"/>
                <a:gd name="T17" fmla="*/ 80 h 164"/>
                <a:gd name="T18" fmla="*/ 22 w 140"/>
                <a:gd name="T19" fmla="*/ 94 h 164"/>
                <a:gd name="T20" fmla="*/ 28 w 140"/>
                <a:gd name="T21" fmla="*/ 118 h 164"/>
                <a:gd name="T22" fmla="*/ 40 w 140"/>
                <a:gd name="T23" fmla="*/ 134 h 164"/>
                <a:gd name="T24" fmla="*/ 60 w 140"/>
                <a:gd name="T25" fmla="*/ 144 h 164"/>
                <a:gd name="T26" fmla="*/ 74 w 140"/>
                <a:gd name="T27" fmla="*/ 146 h 164"/>
                <a:gd name="T28" fmla="*/ 92 w 140"/>
                <a:gd name="T29" fmla="*/ 142 h 164"/>
                <a:gd name="T30" fmla="*/ 106 w 140"/>
                <a:gd name="T31" fmla="*/ 134 h 164"/>
                <a:gd name="T32" fmla="*/ 114 w 140"/>
                <a:gd name="T33" fmla="*/ 120 h 164"/>
                <a:gd name="T34" fmla="*/ 118 w 140"/>
                <a:gd name="T35" fmla="*/ 102 h 164"/>
                <a:gd name="T36" fmla="*/ 140 w 140"/>
                <a:gd name="T37" fmla="*/ 102 h 164"/>
                <a:gd name="T38" fmla="*/ 132 w 140"/>
                <a:gd name="T39" fmla="*/ 128 h 164"/>
                <a:gd name="T40" fmla="*/ 120 w 140"/>
                <a:gd name="T41" fmla="*/ 146 h 164"/>
                <a:gd name="T42" fmla="*/ 98 w 140"/>
                <a:gd name="T43" fmla="*/ 160 h 164"/>
                <a:gd name="T44" fmla="*/ 72 w 140"/>
                <a:gd name="T45" fmla="*/ 164 h 164"/>
                <a:gd name="T46" fmla="*/ 56 w 140"/>
                <a:gd name="T47" fmla="*/ 162 h 164"/>
                <a:gd name="T48" fmla="*/ 28 w 140"/>
                <a:gd name="T49" fmla="*/ 150 h 164"/>
                <a:gd name="T50" fmla="*/ 10 w 140"/>
                <a:gd name="T51" fmla="*/ 128 h 164"/>
                <a:gd name="T52" fmla="*/ 2 w 140"/>
                <a:gd name="T53" fmla="*/ 98 h 164"/>
                <a:gd name="T54" fmla="*/ 0 w 140"/>
                <a:gd name="T55" fmla="*/ 82 h 164"/>
                <a:gd name="T56" fmla="*/ 4 w 140"/>
                <a:gd name="T57" fmla="*/ 50 h 164"/>
                <a:gd name="T58" fmla="*/ 20 w 140"/>
                <a:gd name="T59" fmla="*/ 24 h 164"/>
                <a:gd name="T60" fmla="*/ 42 w 140"/>
                <a:gd name="T61" fmla="*/ 6 h 164"/>
                <a:gd name="T62" fmla="*/ 74 w 140"/>
                <a:gd name="T63" fmla="*/ 0 h 164"/>
                <a:gd name="T64" fmla="*/ 86 w 140"/>
                <a:gd name="T65" fmla="*/ 2 h 164"/>
                <a:gd name="T66" fmla="*/ 108 w 140"/>
                <a:gd name="T67" fmla="*/ 8 h 164"/>
                <a:gd name="T68" fmla="*/ 124 w 140"/>
                <a:gd name="T69" fmla="*/ 20 h 164"/>
                <a:gd name="T70" fmla="*/ 136 w 140"/>
                <a:gd name="T71" fmla="*/ 40 h 164"/>
                <a:gd name="T72" fmla="*/ 118 w 140"/>
                <a:gd name="T73" fmla="*/ 5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0" h="164">
                  <a:moveTo>
                    <a:pt x="118" y="50"/>
                  </a:moveTo>
                  <a:lnTo>
                    <a:pt x="118" y="50"/>
                  </a:lnTo>
                  <a:lnTo>
                    <a:pt x="116" y="44"/>
                  </a:lnTo>
                  <a:lnTo>
                    <a:pt x="112" y="36"/>
                  </a:lnTo>
                  <a:lnTo>
                    <a:pt x="108" y="30"/>
                  </a:lnTo>
                  <a:lnTo>
                    <a:pt x="102" y="26"/>
                  </a:lnTo>
                  <a:lnTo>
                    <a:pt x="96" y="22"/>
                  </a:lnTo>
                  <a:lnTo>
                    <a:pt x="90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60" y="20"/>
                  </a:lnTo>
                  <a:lnTo>
                    <a:pt x="50" y="24"/>
                  </a:lnTo>
                  <a:lnTo>
                    <a:pt x="40" y="30"/>
                  </a:lnTo>
                  <a:lnTo>
                    <a:pt x="34" y="38"/>
                  </a:lnTo>
                  <a:lnTo>
                    <a:pt x="28" y="46"/>
                  </a:lnTo>
                  <a:lnTo>
                    <a:pt x="24" y="58"/>
                  </a:lnTo>
                  <a:lnTo>
                    <a:pt x="22" y="68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2" y="94"/>
                  </a:lnTo>
                  <a:lnTo>
                    <a:pt x="24" y="106"/>
                  </a:lnTo>
                  <a:lnTo>
                    <a:pt x="28" y="118"/>
                  </a:lnTo>
                  <a:lnTo>
                    <a:pt x="34" y="126"/>
                  </a:lnTo>
                  <a:lnTo>
                    <a:pt x="40" y="134"/>
                  </a:lnTo>
                  <a:lnTo>
                    <a:pt x="50" y="140"/>
                  </a:lnTo>
                  <a:lnTo>
                    <a:pt x="60" y="144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84" y="146"/>
                  </a:lnTo>
                  <a:lnTo>
                    <a:pt x="92" y="142"/>
                  </a:lnTo>
                  <a:lnTo>
                    <a:pt x="100" y="138"/>
                  </a:lnTo>
                  <a:lnTo>
                    <a:pt x="106" y="134"/>
                  </a:lnTo>
                  <a:lnTo>
                    <a:pt x="110" y="126"/>
                  </a:lnTo>
                  <a:lnTo>
                    <a:pt x="114" y="120"/>
                  </a:lnTo>
                  <a:lnTo>
                    <a:pt x="118" y="110"/>
                  </a:lnTo>
                  <a:lnTo>
                    <a:pt x="118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38" y="116"/>
                  </a:lnTo>
                  <a:lnTo>
                    <a:pt x="132" y="128"/>
                  </a:lnTo>
                  <a:lnTo>
                    <a:pt x="126" y="138"/>
                  </a:lnTo>
                  <a:lnTo>
                    <a:pt x="120" y="146"/>
                  </a:lnTo>
                  <a:lnTo>
                    <a:pt x="110" y="154"/>
                  </a:lnTo>
                  <a:lnTo>
                    <a:pt x="98" y="160"/>
                  </a:lnTo>
                  <a:lnTo>
                    <a:pt x="86" y="162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56" y="162"/>
                  </a:lnTo>
                  <a:lnTo>
                    <a:pt x="40" y="158"/>
                  </a:lnTo>
                  <a:lnTo>
                    <a:pt x="28" y="150"/>
                  </a:lnTo>
                  <a:lnTo>
                    <a:pt x="18" y="140"/>
                  </a:lnTo>
                  <a:lnTo>
                    <a:pt x="10" y="128"/>
                  </a:lnTo>
                  <a:lnTo>
                    <a:pt x="4" y="114"/>
                  </a:lnTo>
                  <a:lnTo>
                    <a:pt x="2" y="98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66"/>
                  </a:lnTo>
                  <a:lnTo>
                    <a:pt x="4" y="50"/>
                  </a:lnTo>
                  <a:lnTo>
                    <a:pt x="10" y="36"/>
                  </a:lnTo>
                  <a:lnTo>
                    <a:pt x="20" y="24"/>
                  </a:lnTo>
                  <a:lnTo>
                    <a:pt x="30" y="14"/>
                  </a:lnTo>
                  <a:lnTo>
                    <a:pt x="42" y="6"/>
                  </a:lnTo>
                  <a:lnTo>
                    <a:pt x="56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6" y="2"/>
                  </a:lnTo>
                  <a:lnTo>
                    <a:pt x="96" y="4"/>
                  </a:lnTo>
                  <a:lnTo>
                    <a:pt x="108" y="8"/>
                  </a:lnTo>
                  <a:lnTo>
                    <a:pt x="116" y="14"/>
                  </a:lnTo>
                  <a:lnTo>
                    <a:pt x="124" y="20"/>
                  </a:lnTo>
                  <a:lnTo>
                    <a:pt x="130" y="30"/>
                  </a:lnTo>
                  <a:lnTo>
                    <a:pt x="136" y="40"/>
                  </a:lnTo>
                  <a:lnTo>
                    <a:pt x="138" y="50"/>
                  </a:lnTo>
                  <a:lnTo>
                    <a:pt x="118" y="50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792663" y="5864225"/>
              <a:ext cx="174625" cy="187325"/>
            </a:xfrm>
            <a:custGeom>
              <a:avLst/>
              <a:gdLst>
                <a:gd name="T0" fmla="*/ 54 w 110"/>
                <a:gd name="T1" fmla="*/ 0 h 118"/>
                <a:gd name="T2" fmla="*/ 78 w 110"/>
                <a:gd name="T3" fmla="*/ 6 h 118"/>
                <a:gd name="T4" fmla="*/ 96 w 110"/>
                <a:gd name="T5" fmla="*/ 18 h 118"/>
                <a:gd name="T6" fmla="*/ 106 w 110"/>
                <a:gd name="T7" fmla="*/ 36 h 118"/>
                <a:gd name="T8" fmla="*/ 110 w 110"/>
                <a:gd name="T9" fmla="*/ 60 h 118"/>
                <a:gd name="T10" fmla="*/ 108 w 110"/>
                <a:gd name="T11" fmla="*/ 72 h 118"/>
                <a:gd name="T12" fmla="*/ 102 w 110"/>
                <a:gd name="T13" fmla="*/ 92 h 118"/>
                <a:gd name="T14" fmla="*/ 88 w 110"/>
                <a:gd name="T15" fmla="*/ 108 h 118"/>
                <a:gd name="T16" fmla="*/ 68 w 110"/>
                <a:gd name="T17" fmla="*/ 118 h 118"/>
                <a:gd name="T18" fmla="*/ 54 w 110"/>
                <a:gd name="T19" fmla="*/ 118 h 118"/>
                <a:gd name="T20" fmla="*/ 32 w 110"/>
                <a:gd name="T21" fmla="*/ 114 h 118"/>
                <a:gd name="T22" fmla="*/ 14 w 110"/>
                <a:gd name="T23" fmla="*/ 102 h 118"/>
                <a:gd name="T24" fmla="*/ 4 w 110"/>
                <a:gd name="T25" fmla="*/ 82 h 118"/>
                <a:gd name="T26" fmla="*/ 0 w 110"/>
                <a:gd name="T27" fmla="*/ 60 h 118"/>
                <a:gd name="T28" fmla="*/ 2 w 110"/>
                <a:gd name="T29" fmla="*/ 48 h 118"/>
                <a:gd name="T30" fmla="*/ 8 w 110"/>
                <a:gd name="T31" fmla="*/ 26 h 118"/>
                <a:gd name="T32" fmla="*/ 22 w 110"/>
                <a:gd name="T33" fmla="*/ 10 h 118"/>
                <a:gd name="T34" fmla="*/ 42 w 110"/>
                <a:gd name="T35" fmla="*/ 2 h 118"/>
                <a:gd name="T36" fmla="*/ 54 w 110"/>
                <a:gd name="T37" fmla="*/ 0 h 118"/>
                <a:gd name="T38" fmla="*/ 54 w 110"/>
                <a:gd name="T39" fmla="*/ 102 h 118"/>
                <a:gd name="T40" fmla="*/ 68 w 110"/>
                <a:gd name="T41" fmla="*/ 100 h 118"/>
                <a:gd name="T42" fmla="*/ 80 w 110"/>
                <a:gd name="T43" fmla="*/ 92 h 118"/>
                <a:gd name="T44" fmla="*/ 88 w 110"/>
                <a:gd name="T45" fmla="*/ 78 h 118"/>
                <a:gd name="T46" fmla="*/ 90 w 110"/>
                <a:gd name="T47" fmla="*/ 60 h 118"/>
                <a:gd name="T48" fmla="*/ 90 w 110"/>
                <a:gd name="T49" fmla="*/ 50 h 118"/>
                <a:gd name="T50" fmla="*/ 84 w 110"/>
                <a:gd name="T51" fmla="*/ 34 h 118"/>
                <a:gd name="T52" fmla="*/ 74 w 110"/>
                <a:gd name="T53" fmla="*/ 24 h 118"/>
                <a:gd name="T54" fmla="*/ 62 w 110"/>
                <a:gd name="T55" fmla="*/ 18 h 118"/>
                <a:gd name="T56" fmla="*/ 54 w 110"/>
                <a:gd name="T57" fmla="*/ 16 h 118"/>
                <a:gd name="T58" fmla="*/ 42 w 110"/>
                <a:gd name="T59" fmla="*/ 20 h 118"/>
                <a:gd name="T60" fmla="*/ 30 w 110"/>
                <a:gd name="T61" fmla="*/ 28 h 118"/>
                <a:gd name="T62" fmla="*/ 22 w 110"/>
                <a:gd name="T63" fmla="*/ 42 h 118"/>
                <a:gd name="T64" fmla="*/ 20 w 110"/>
                <a:gd name="T65" fmla="*/ 60 h 118"/>
                <a:gd name="T66" fmla="*/ 20 w 110"/>
                <a:gd name="T67" fmla="*/ 70 h 118"/>
                <a:gd name="T68" fmla="*/ 26 w 110"/>
                <a:gd name="T69" fmla="*/ 86 h 118"/>
                <a:gd name="T70" fmla="*/ 36 w 110"/>
                <a:gd name="T71" fmla="*/ 96 h 118"/>
                <a:gd name="T72" fmla="*/ 48 w 110"/>
                <a:gd name="T73" fmla="*/ 102 h 118"/>
                <a:gd name="T74" fmla="*/ 54 w 110"/>
                <a:gd name="T75" fmla="*/ 10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118">
                  <a:moveTo>
                    <a:pt x="54" y="0"/>
                  </a:moveTo>
                  <a:lnTo>
                    <a:pt x="54" y="0"/>
                  </a:lnTo>
                  <a:lnTo>
                    <a:pt x="68" y="2"/>
                  </a:lnTo>
                  <a:lnTo>
                    <a:pt x="78" y="6"/>
                  </a:lnTo>
                  <a:lnTo>
                    <a:pt x="88" y="10"/>
                  </a:lnTo>
                  <a:lnTo>
                    <a:pt x="96" y="18"/>
                  </a:lnTo>
                  <a:lnTo>
                    <a:pt x="102" y="26"/>
                  </a:lnTo>
                  <a:lnTo>
                    <a:pt x="106" y="36"/>
                  </a:lnTo>
                  <a:lnTo>
                    <a:pt x="108" y="4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72"/>
                  </a:lnTo>
                  <a:lnTo>
                    <a:pt x="106" y="82"/>
                  </a:lnTo>
                  <a:lnTo>
                    <a:pt x="102" y="92"/>
                  </a:lnTo>
                  <a:lnTo>
                    <a:pt x="96" y="102"/>
                  </a:lnTo>
                  <a:lnTo>
                    <a:pt x="88" y="108"/>
                  </a:lnTo>
                  <a:lnTo>
                    <a:pt x="78" y="114"/>
                  </a:lnTo>
                  <a:lnTo>
                    <a:pt x="68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2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2"/>
                  </a:lnTo>
                  <a:lnTo>
                    <a:pt x="4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8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close/>
                  <a:moveTo>
                    <a:pt x="54" y="102"/>
                  </a:moveTo>
                  <a:lnTo>
                    <a:pt x="54" y="102"/>
                  </a:lnTo>
                  <a:lnTo>
                    <a:pt x="62" y="102"/>
                  </a:lnTo>
                  <a:lnTo>
                    <a:pt x="68" y="100"/>
                  </a:lnTo>
                  <a:lnTo>
                    <a:pt x="74" y="96"/>
                  </a:lnTo>
                  <a:lnTo>
                    <a:pt x="80" y="92"/>
                  </a:lnTo>
                  <a:lnTo>
                    <a:pt x="84" y="86"/>
                  </a:lnTo>
                  <a:lnTo>
                    <a:pt x="88" y="78"/>
                  </a:lnTo>
                  <a:lnTo>
                    <a:pt x="90" y="70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0" y="50"/>
                  </a:lnTo>
                  <a:lnTo>
                    <a:pt x="88" y="42"/>
                  </a:lnTo>
                  <a:lnTo>
                    <a:pt x="84" y="34"/>
                  </a:lnTo>
                  <a:lnTo>
                    <a:pt x="80" y="28"/>
                  </a:lnTo>
                  <a:lnTo>
                    <a:pt x="74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48" y="18"/>
                  </a:lnTo>
                  <a:lnTo>
                    <a:pt x="42" y="20"/>
                  </a:lnTo>
                  <a:lnTo>
                    <a:pt x="36" y="24"/>
                  </a:lnTo>
                  <a:lnTo>
                    <a:pt x="30" y="28"/>
                  </a:lnTo>
                  <a:lnTo>
                    <a:pt x="26" y="34"/>
                  </a:lnTo>
                  <a:lnTo>
                    <a:pt x="22" y="42"/>
                  </a:lnTo>
                  <a:lnTo>
                    <a:pt x="20" y="5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70"/>
                  </a:lnTo>
                  <a:lnTo>
                    <a:pt x="22" y="78"/>
                  </a:lnTo>
                  <a:lnTo>
                    <a:pt x="26" y="86"/>
                  </a:lnTo>
                  <a:lnTo>
                    <a:pt x="30" y="92"/>
                  </a:lnTo>
                  <a:lnTo>
                    <a:pt x="36" y="96"/>
                  </a:lnTo>
                  <a:lnTo>
                    <a:pt x="42" y="100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54" y="102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002213" y="5864225"/>
              <a:ext cx="250825" cy="184150"/>
            </a:xfrm>
            <a:custGeom>
              <a:avLst/>
              <a:gdLst>
                <a:gd name="T0" fmla="*/ 0 w 158"/>
                <a:gd name="T1" fmla="*/ 4 h 116"/>
                <a:gd name="T2" fmla="*/ 18 w 158"/>
                <a:gd name="T3" fmla="*/ 4 h 116"/>
                <a:gd name="T4" fmla="*/ 18 w 158"/>
                <a:gd name="T5" fmla="*/ 20 h 116"/>
                <a:gd name="T6" fmla="*/ 18 w 158"/>
                <a:gd name="T7" fmla="*/ 20 h 116"/>
                <a:gd name="T8" fmla="*/ 18 w 158"/>
                <a:gd name="T9" fmla="*/ 20 h 116"/>
                <a:gd name="T10" fmla="*/ 24 w 158"/>
                <a:gd name="T11" fmla="*/ 12 h 116"/>
                <a:gd name="T12" fmla="*/ 32 w 158"/>
                <a:gd name="T13" fmla="*/ 6 h 116"/>
                <a:gd name="T14" fmla="*/ 42 w 158"/>
                <a:gd name="T15" fmla="*/ 2 h 116"/>
                <a:gd name="T16" fmla="*/ 54 w 158"/>
                <a:gd name="T17" fmla="*/ 0 h 116"/>
                <a:gd name="T18" fmla="*/ 54 w 158"/>
                <a:gd name="T19" fmla="*/ 0 h 116"/>
                <a:gd name="T20" fmla="*/ 64 w 158"/>
                <a:gd name="T21" fmla="*/ 2 h 116"/>
                <a:gd name="T22" fmla="*/ 72 w 158"/>
                <a:gd name="T23" fmla="*/ 4 h 116"/>
                <a:gd name="T24" fmla="*/ 80 w 158"/>
                <a:gd name="T25" fmla="*/ 10 h 116"/>
                <a:gd name="T26" fmla="*/ 84 w 158"/>
                <a:gd name="T27" fmla="*/ 20 h 116"/>
                <a:gd name="T28" fmla="*/ 84 w 158"/>
                <a:gd name="T29" fmla="*/ 20 h 116"/>
                <a:gd name="T30" fmla="*/ 92 w 158"/>
                <a:gd name="T31" fmla="*/ 12 h 116"/>
                <a:gd name="T32" fmla="*/ 100 w 158"/>
                <a:gd name="T33" fmla="*/ 6 h 116"/>
                <a:gd name="T34" fmla="*/ 110 w 158"/>
                <a:gd name="T35" fmla="*/ 2 h 116"/>
                <a:gd name="T36" fmla="*/ 120 w 158"/>
                <a:gd name="T37" fmla="*/ 0 h 116"/>
                <a:gd name="T38" fmla="*/ 120 w 158"/>
                <a:gd name="T39" fmla="*/ 0 h 116"/>
                <a:gd name="T40" fmla="*/ 136 w 158"/>
                <a:gd name="T41" fmla="*/ 2 h 116"/>
                <a:gd name="T42" fmla="*/ 142 w 158"/>
                <a:gd name="T43" fmla="*/ 4 h 116"/>
                <a:gd name="T44" fmla="*/ 148 w 158"/>
                <a:gd name="T45" fmla="*/ 8 h 116"/>
                <a:gd name="T46" fmla="*/ 152 w 158"/>
                <a:gd name="T47" fmla="*/ 12 h 116"/>
                <a:gd name="T48" fmla="*/ 156 w 158"/>
                <a:gd name="T49" fmla="*/ 18 h 116"/>
                <a:gd name="T50" fmla="*/ 158 w 158"/>
                <a:gd name="T51" fmla="*/ 26 h 116"/>
                <a:gd name="T52" fmla="*/ 158 w 158"/>
                <a:gd name="T53" fmla="*/ 34 h 116"/>
                <a:gd name="T54" fmla="*/ 158 w 158"/>
                <a:gd name="T55" fmla="*/ 116 h 116"/>
                <a:gd name="T56" fmla="*/ 140 w 158"/>
                <a:gd name="T57" fmla="*/ 116 h 116"/>
                <a:gd name="T58" fmla="*/ 140 w 158"/>
                <a:gd name="T59" fmla="*/ 42 h 116"/>
                <a:gd name="T60" fmla="*/ 140 w 158"/>
                <a:gd name="T61" fmla="*/ 42 h 116"/>
                <a:gd name="T62" fmla="*/ 138 w 158"/>
                <a:gd name="T63" fmla="*/ 32 h 116"/>
                <a:gd name="T64" fmla="*/ 136 w 158"/>
                <a:gd name="T65" fmla="*/ 24 h 116"/>
                <a:gd name="T66" fmla="*/ 132 w 158"/>
                <a:gd name="T67" fmla="*/ 22 h 116"/>
                <a:gd name="T68" fmla="*/ 128 w 158"/>
                <a:gd name="T69" fmla="*/ 18 h 116"/>
                <a:gd name="T70" fmla="*/ 118 w 158"/>
                <a:gd name="T71" fmla="*/ 16 h 116"/>
                <a:gd name="T72" fmla="*/ 118 w 158"/>
                <a:gd name="T73" fmla="*/ 16 h 116"/>
                <a:gd name="T74" fmla="*/ 106 w 158"/>
                <a:gd name="T75" fmla="*/ 18 h 116"/>
                <a:gd name="T76" fmla="*/ 96 w 158"/>
                <a:gd name="T77" fmla="*/ 24 h 116"/>
                <a:gd name="T78" fmla="*/ 90 w 158"/>
                <a:gd name="T79" fmla="*/ 34 h 116"/>
                <a:gd name="T80" fmla="*/ 88 w 158"/>
                <a:gd name="T81" fmla="*/ 46 h 116"/>
                <a:gd name="T82" fmla="*/ 88 w 158"/>
                <a:gd name="T83" fmla="*/ 116 h 116"/>
                <a:gd name="T84" fmla="*/ 70 w 158"/>
                <a:gd name="T85" fmla="*/ 116 h 116"/>
                <a:gd name="T86" fmla="*/ 70 w 158"/>
                <a:gd name="T87" fmla="*/ 42 h 116"/>
                <a:gd name="T88" fmla="*/ 70 w 158"/>
                <a:gd name="T89" fmla="*/ 42 h 116"/>
                <a:gd name="T90" fmla="*/ 68 w 158"/>
                <a:gd name="T91" fmla="*/ 32 h 116"/>
                <a:gd name="T92" fmla="*/ 66 w 158"/>
                <a:gd name="T93" fmla="*/ 24 h 116"/>
                <a:gd name="T94" fmla="*/ 58 w 158"/>
                <a:gd name="T95" fmla="*/ 18 h 116"/>
                <a:gd name="T96" fmla="*/ 48 w 158"/>
                <a:gd name="T97" fmla="*/ 16 h 116"/>
                <a:gd name="T98" fmla="*/ 48 w 158"/>
                <a:gd name="T99" fmla="*/ 16 h 116"/>
                <a:gd name="T100" fmla="*/ 40 w 158"/>
                <a:gd name="T101" fmla="*/ 18 h 116"/>
                <a:gd name="T102" fmla="*/ 34 w 158"/>
                <a:gd name="T103" fmla="*/ 20 h 116"/>
                <a:gd name="T104" fmla="*/ 30 w 158"/>
                <a:gd name="T105" fmla="*/ 24 h 116"/>
                <a:gd name="T106" fmla="*/ 24 w 158"/>
                <a:gd name="T107" fmla="*/ 28 h 116"/>
                <a:gd name="T108" fmla="*/ 20 w 158"/>
                <a:gd name="T109" fmla="*/ 38 h 116"/>
                <a:gd name="T110" fmla="*/ 18 w 158"/>
                <a:gd name="T111" fmla="*/ 46 h 116"/>
                <a:gd name="T112" fmla="*/ 18 w 158"/>
                <a:gd name="T113" fmla="*/ 116 h 116"/>
                <a:gd name="T114" fmla="*/ 0 w 158"/>
                <a:gd name="T115" fmla="*/ 116 h 116"/>
                <a:gd name="T116" fmla="*/ 0 w 158"/>
                <a:gd name="T11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8" h="116">
                  <a:moveTo>
                    <a:pt x="0" y="4"/>
                  </a:moveTo>
                  <a:lnTo>
                    <a:pt x="18" y="4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4" y="12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2" y="4"/>
                  </a:lnTo>
                  <a:lnTo>
                    <a:pt x="80" y="1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92" y="12"/>
                  </a:lnTo>
                  <a:lnTo>
                    <a:pt x="100" y="6"/>
                  </a:lnTo>
                  <a:lnTo>
                    <a:pt x="110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36" y="2"/>
                  </a:lnTo>
                  <a:lnTo>
                    <a:pt x="142" y="4"/>
                  </a:lnTo>
                  <a:lnTo>
                    <a:pt x="148" y="8"/>
                  </a:lnTo>
                  <a:lnTo>
                    <a:pt x="152" y="12"/>
                  </a:lnTo>
                  <a:lnTo>
                    <a:pt x="156" y="18"/>
                  </a:lnTo>
                  <a:lnTo>
                    <a:pt x="158" y="26"/>
                  </a:lnTo>
                  <a:lnTo>
                    <a:pt x="158" y="34"/>
                  </a:lnTo>
                  <a:lnTo>
                    <a:pt x="158" y="116"/>
                  </a:lnTo>
                  <a:lnTo>
                    <a:pt x="140" y="116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38" y="32"/>
                  </a:lnTo>
                  <a:lnTo>
                    <a:pt x="136" y="24"/>
                  </a:lnTo>
                  <a:lnTo>
                    <a:pt x="132" y="22"/>
                  </a:lnTo>
                  <a:lnTo>
                    <a:pt x="128" y="18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06" y="18"/>
                  </a:lnTo>
                  <a:lnTo>
                    <a:pt x="96" y="24"/>
                  </a:lnTo>
                  <a:lnTo>
                    <a:pt x="90" y="34"/>
                  </a:lnTo>
                  <a:lnTo>
                    <a:pt x="88" y="46"/>
                  </a:lnTo>
                  <a:lnTo>
                    <a:pt x="88" y="116"/>
                  </a:lnTo>
                  <a:lnTo>
                    <a:pt x="70" y="116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8" y="32"/>
                  </a:lnTo>
                  <a:lnTo>
                    <a:pt x="66" y="24"/>
                  </a:lnTo>
                  <a:lnTo>
                    <a:pt x="58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0" y="18"/>
                  </a:lnTo>
                  <a:lnTo>
                    <a:pt x="34" y="20"/>
                  </a:lnTo>
                  <a:lnTo>
                    <a:pt x="30" y="24"/>
                  </a:lnTo>
                  <a:lnTo>
                    <a:pt x="24" y="28"/>
                  </a:lnTo>
                  <a:lnTo>
                    <a:pt x="20" y="38"/>
                  </a:lnTo>
                  <a:lnTo>
                    <a:pt x="18" y="46"/>
                  </a:lnTo>
                  <a:lnTo>
                    <a:pt x="18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297488" y="5864225"/>
              <a:ext cx="171450" cy="254000"/>
            </a:xfrm>
            <a:custGeom>
              <a:avLst/>
              <a:gdLst>
                <a:gd name="T0" fmla="*/ 18 w 108"/>
                <a:gd name="T1" fmla="*/ 4 h 160"/>
                <a:gd name="T2" fmla="*/ 20 w 108"/>
                <a:gd name="T3" fmla="*/ 18 h 160"/>
                <a:gd name="T4" fmla="*/ 26 w 108"/>
                <a:gd name="T5" fmla="*/ 10 h 160"/>
                <a:gd name="T6" fmla="*/ 44 w 108"/>
                <a:gd name="T7" fmla="*/ 2 h 160"/>
                <a:gd name="T8" fmla="*/ 56 w 108"/>
                <a:gd name="T9" fmla="*/ 0 h 160"/>
                <a:gd name="T10" fmla="*/ 78 w 108"/>
                <a:gd name="T11" fmla="*/ 6 h 160"/>
                <a:gd name="T12" fmla="*/ 94 w 108"/>
                <a:gd name="T13" fmla="*/ 18 h 160"/>
                <a:gd name="T14" fmla="*/ 104 w 108"/>
                <a:gd name="T15" fmla="*/ 38 h 160"/>
                <a:gd name="T16" fmla="*/ 108 w 108"/>
                <a:gd name="T17" fmla="*/ 60 h 160"/>
                <a:gd name="T18" fmla="*/ 106 w 108"/>
                <a:gd name="T19" fmla="*/ 72 h 160"/>
                <a:gd name="T20" fmla="*/ 100 w 108"/>
                <a:gd name="T21" fmla="*/ 92 h 160"/>
                <a:gd name="T22" fmla="*/ 88 w 108"/>
                <a:gd name="T23" fmla="*/ 108 h 160"/>
                <a:gd name="T24" fmla="*/ 68 w 108"/>
                <a:gd name="T25" fmla="*/ 118 h 160"/>
                <a:gd name="T26" fmla="*/ 56 w 108"/>
                <a:gd name="T27" fmla="*/ 118 h 160"/>
                <a:gd name="T28" fmla="*/ 36 w 108"/>
                <a:gd name="T29" fmla="*/ 114 h 160"/>
                <a:gd name="T30" fmla="*/ 20 w 108"/>
                <a:gd name="T31" fmla="*/ 100 h 160"/>
                <a:gd name="T32" fmla="*/ 18 w 108"/>
                <a:gd name="T33" fmla="*/ 160 h 160"/>
                <a:gd name="T34" fmla="*/ 0 w 108"/>
                <a:gd name="T35" fmla="*/ 4 h 160"/>
                <a:gd name="T36" fmla="*/ 52 w 108"/>
                <a:gd name="T37" fmla="*/ 16 h 160"/>
                <a:gd name="T38" fmla="*/ 36 w 108"/>
                <a:gd name="T39" fmla="*/ 20 h 160"/>
                <a:gd name="T40" fmla="*/ 26 w 108"/>
                <a:gd name="T41" fmla="*/ 30 h 160"/>
                <a:gd name="T42" fmla="*/ 20 w 108"/>
                <a:gd name="T43" fmla="*/ 44 h 160"/>
                <a:gd name="T44" fmla="*/ 18 w 108"/>
                <a:gd name="T45" fmla="*/ 60 h 160"/>
                <a:gd name="T46" fmla="*/ 22 w 108"/>
                <a:gd name="T47" fmla="*/ 82 h 160"/>
                <a:gd name="T48" fmla="*/ 32 w 108"/>
                <a:gd name="T49" fmla="*/ 94 h 160"/>
                <a:gd name="T50" fmla="*/ 44 w 108"/>
                <a:gd name="T51" fmla="*/ 102 h 160"/>
                <a:gd name="T52" fmla="*/ 54 w 108"/>
                <a:gd name="T53" fmla="*/ 102 h 160"/>
                <a:gd name="T54" fmla="*/ 70 w 108"/>
                <a:gd name="T55" fmla="*/ 98 h 160"/>
                <a:gd name="T56" fmla="*/ 80 w 108"/>
                <a:gd name="T57" fmla="*/ 88 h 160"/>
                <a:gd name="T58" fmla="*/ 86 w 108"/>
                <a:gd name="T59" fmla="*/ 74 h 160"/>
                <a:gd name="T60" fmla="*/ 88 w 108"/>
                <a:gd name="T61" fmla="*/ 58 h 160"/>
                <a:gd name="T62" fmla="*/ 82 w 108"/>
                <a:gd name="T63" fmla="*/ 36 h 160"/>
                <a:gd name="T64" fmla="*/ 74 w 108"/>
                <a:gd name="T65" fmla="*/ 24 h 160"/>
                <a:gd name="T66" fmla="*/ 62 w 108"/>
                <a:gd name="T67" fmla="*/ 18 h 160"/>
                <a:gd name="T68" fmla="*/ 52 w 108"/>
                <a:gd name="T69" fmla="*/ 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8" h="160">
                  <a:moveTo>
                    <a:pt x="0" y="4"/>
                  </a:moveTo>
                  <a:lnTo>
                    <a:pt x="18" y="4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6" y="10"/>
                  </a:lnTo>
                  <a:lnTo>
                    <a:pt x="34" y="4"/>
                  </a:lnTo>
                  <a:lnTo>
                    <a:pt x="4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6"/>
                  </a:lnTo>
                  <a:lnTo>
                    <a:pt x="88" y="10"/>
                  </a:lnTo>
                  <a:lnTo>
                    <a:pt x="94" y="18"/>
                  </a:lnTo>
                  <a:lnTo>
                    <a:pt x="100" y="28"/>
                  </a:lnTo>
                  <a:lnTo>
                    <a:pt x="104" y="38"/>
                  </a:lnTo>
                  <a:lnTo>
                    <a:pt x="106" y="48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6" y="72"/>
                  </a:lnTo>
                  <a:lnTo>
                    <a:pt x="104" y="82"/>
                  </a:lnTo>
                  <a:lnTo>
                    <a:pt x="100" y="92"/>
                  </a:lnTo>
                  <a:lnTo>
                    <a:pt x="94" y="102"/>
                  </a:lnTo>
                  <a:lnTo>
                    <a:pt x="88" y="108"/>
                  </a:lnTo>
                  <a:lnTo>
                    <a:pt x="78" y="114"/>
                  </a:lnTo>
                  <a:lnTo>
                    <a:pt x="68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46" y="118"/>
                  </a:lnTo>
                  <a:lnTo>
                    <a:pt x="36" y="114"/>
                  </a:lnTo>
                  <a:lnTo>
                    <a:pt x="26" y="110"/>
                  </a:lnTo>
                  <a:lnTo>
                    <a:pt x="20" y="100"/>
                  </a:lnTo>
                  <a:lnTo>
                    <a:pt x="18" y="100"/>
                  </a:lnTo>
                  <a:lnTo>
                    <a:pt x="18" y="160"/>
                  </a:lnTo>
                  <a:lnTo>
                    <a:pt x="0" y="160"/>
                  </a:lnTo>
                  <a:lnTo>
                    <a:pt x="0" y="4"/>
                  </a:lnTo>
                  <a:close/>
                  <a:moveTo>
                    <a:pt x="52" y="16"/>
                  </a:moveTo>
                  <a:lnTo>
                    <a:pt x="52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30" y="24"/>
                  </a:lnTo>
                  <a:lnTo>
                    <a:pt x="26" y="30"/>
                  </a:lnTo>
                  <a:lnTo>
                    <a:pt x="22" y="36"/>
                  </a:lnTo>
                  <a:lnTo>
                    <a:pt x="20" y="44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0" y="76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2" y="94"/>
                  </a:lnTo>
                  <a:lnTo>
                    <a:pt x="38" y="98"/>
                  </a:lnTo>
                  <a:lnTo>
                    <a:pt x="4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2" y="102"/>
                  </a:lnTo>
                  <a:lnTo>
                    <a:pt x="70" y="98"/>
                  </a:lnTo>
                  <a:lnTo>
                    <a:pt x="76" y="94"/>
                  </a:lnTo>
                  <a:lnTo>
                    <a:pt x="80" y="88"/>
                  </a:lnTo>
                  <a:lnTo>
                    <a:pt x="84" y="82"/>
                  </a:lnTo>
                  <a:lnTo>
                    <a:pt x="86" y="7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6" y="44"/>
                  </a:lnTo>
                  <a:lnTo>
                    <a:pt x="82" y="36"/>
                  </a:lnTo>
                  <a:lnTo>
                    <a:pt x="80" y="30"/>
                  </a:lnTo>
                  <a:lnTo>
                    <a:pt x="74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2" y="16"/>
                  </a:lnTo>
                  <a:lnTo>
                    <a:pt x="52" y="16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5494338" y="5864225"/>
              <a:ext cx="165100" cy="1873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4 w 104"/>
                <a:gd name="T5" fmla="*/ 108 h 118"/>
                <a:gd name="T6" fmla="*/ 70 w 104"/>
                <a:gd name="T7" fmla="*/ 116 h 118"/>
                <a:gd name="T8" fmla="*/ 54 w 104"/>
                <a:gd name="T9" fmla="*/ 118 h 118"/>
                <a:gd name="T10" fmla="*/ 40 w 104"/>
                <a:gd name="T11" fmla="*/ 118 h 118"/>
                <a:gd name="T12" fmla="*/ 20 w 104"/>
                <a:gd name="T13" fmla="*/ 108 h 118"/>
                <a:gd name="T14" fmla="*/ 8 w 104"/>
                <a:gd name="T15" fmla="*/ 94 h 118"/>
                <a:gd name="T16" fmla="*/ 0 w 104"/>
                <a:gd name="T17" fmla="*/ 72 h 118"/>
                <a:gd name="T18" fmla="*/ 0 w 104"/>
                <a:gd name="T19" fmla="*/ 60 h 118"/>
                <a:gd name="T20" fmla="*/ 2 w 104"/>
                <a:gd name="T21" fmla="*/ 36 h 118"/>
                <a:gd name="T22" fmla="*/ 14 w 104"/>
                <a:gd name="T23" fmla="*/ 18 h 118"/>
                <a:gd name="T24" fmla="*/ 30 w 104"/>
                <a:gd name="T25" fmla="*/ 4 h 118"/>
                <a:gd name="T26" fmla="*/ 52 w 104"/>
                <a:gd name="T27" fmla="*/ 0 h 118"/>
                <a:gd name="T28" fmla="*/ 66 w 104"/>
                <a:gd name="T29" fmla="*/ 2 h 118"/>
                <a:gd name="T30" fmla="*/ 86 w 104"/>
                <a:gd name="T31" fmla="*/ 14 h 118"/>
                <a:gd name="T32" fmla="*/ 98 w 104"/>
                <a:gd name="T33" fmla="*/ 32 h 118"/>
                <a:gd name="T34" fmla="*/ 102 w 104"/>
                <a:gd name="T35" fmla="*/ 54 h 118"/>
                <a:gd name="T36" fmla="*/ 18 w 104"/>
                <a:gd name="T37" fmla="*/ 66 h 118"/>
                <a:gd name="T38" fmla="*/ 20 w 104"/>
                <a:gd name="T39" fmla="*/ 80 h 118"/>
                <a:gd name="T40" fmla="*/ 26 w 104"/>
                <a:gd name="T41" fmla="*/ 90 h 118"/>
                <a:gd name="T42" fmla="*/ 38 w 104"/>
                <a:gd name="T43" fmla="*/ 100 h 118"/>
                <a:gd name="T44" fmla="*/ 54 w 104"/>
                <a:gd name="T45" fmla="*/ 102 h 118"/>
                <a:gd name="T46" fmla="*/ 64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0 w 104"/>
                <a:gd name="T59" fmla="*/ 16 h 118"/>
                <a:gd name="T60" fmla="*/ 44 w 104"/>
                <a:gd name="T61" fmla="*/ 18 h 118"/>
                <a:gd name="T62" fmla="*/ 32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98" y="88"/>
                  </a:lnTo>
                  <a:lnTo>
                    <a:pt x="96" y="96"/>
                  </a:lnTo>
                  <a:lnTo>
                    <a:pt x="90" y="104"/>
                  </a:lnTo>
                  <a:lnTo>
                    <a:pt x="84" y="108"/>
                  </a:lnTo>
                  <a:lnTo>
                    <a:pt x="78" y="112"/>
                  </a:lnTo>
                  <a:lnTo>
                    <a:pt x="70" y="116"/>
                  </a:lnTo>
                  <a:lnTo>
                    <a:pt x="62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0" y="118"/>
                  </a:lnTo>
                  <a:lnTo>
                    <a:pt x="30" y="114"/>
                  </a:lnTo>
                  <a:lnTo>
                    <a:pt x="20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2" y="82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46"/>
                  </a:lnTo>
                  <a:lnTo>
                    <a:pt x="2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0" y="4"/>
                  </a:lnTo>
                  <a:lnTo>
                    <a:pt x="40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6" y="14"/>
                  </a:lnTo>
                  <a:lnTo>
                    <a:pt x="92" y="22"/>
                  </a:lnTo>
                  <a:lnTo>
                    <a:pt x="98" y="32"/>
                  </a:lnTo>
                  <a:lnTo>
                    <a:pt x="102" y="44"/>
                  </a:lnTo>
                  <a:lnTo>
                    <a:pt x="102" y="54"/>
                  </a:lnTo>
                  <a:lnTo>
                    <a:pt x="104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20" y="80"/>
                  </a:lnTo>
                  <a:lnTo>
                    <a:pt x="22" y="86"/>
                  </a:lnTo>
                  <a:lnTo>
                    <a:pt x="26" y="90"/>
                  </a:lnTo>
                  <a:lnTo>
                    <a:pt x="32" y="96"/>
                  </a:lnTo>
                  <a:lnTo>
                    <a:pt x="38" y="100"/>
                  </a:lnTo>
                  <a:lnTo>
                    <a:pt x="46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4" y="100"/>
                  </a:lnTo>
                  <a:lnTo>
                    <a:pt x="72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0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2" y="22"/>
                  </a:lnTo>
                  <a:lnTo>
                    <a:pt x="28" y="26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5668963" y="5816600"/>
              <a:ext cx="95250" cy="231775"/>
            </a:xfrm>
            <a:custGeom>
              <a:avLst/>
              <a:gdLst>
                <a:gd name="T0" fmla="*/ 38 w 60"/>
                <a:gd name="T1" fmla="*/ 34 h 146"/>
                <a:gd name="T2" fmla="*/ 60 w 60"/>
                <a:gd name="T3" fmla="*/ 34 h 146"/>
                <a:gd name="T4" fmla="*/ 60 w 60"/>
                <a:gd name="T5" fmla="*/ 50 h 146"/>
                <a:gd name="T6" fmla="*/ 38 w 60"/>
                <a:gd name="T7" fmla="*/ 50 h 146"/>
                <a:gd name="T8" fmla="*/ 38 w 60"/>
                <a:gd name="T9" fmla="*/ 120 h 146"/>
                <a:gd name="T10" fmla="*/ 38 w 60"/>
                <a:gd name="T11" fmla="*/ 120 h 146"/>
                <a:gd name="T12" fmla="*/ 38 w 60"/>
                <a:gd name="T13" fmla="*/ 124 h 146"/>
                <a:gd name="T14" fmla="*/ 40 w 60"/>
                <a:gd name="T15" fmla="*/ 128 h 146"/>
                <a:gd name="T16" fmla="*/ 44 w 60"/>
                <a:gd name="T17" fmla="*/ 130 h 146"/>
                <a:gd name="T18" fmla="*/ 52 w 60"/>
                <a:gd name="T19" fmla="*/ 130 h 146"/>
                <a:gd name="T20" fmla="*/ 60 w 60"/>
                <a:gd name="T21" fmla="*/ 130 h 146"/>
                <a:gd name="T22" fmla="*/ 60 w 60"/>
                <a:gd name="T23" fmla="*/ 146 h 146"/>
                <a:gd name="T24" fmla="*/ 46 w 60"/>
                <a:gd name="T25" fmla="*/ 146 h 146"/>
                <a:gd name="T26" fmla="*/ 46 w 60"/>
                <a:gd name="T27" fmla="*/ 146 h 146"/>
                <a:gd name="T28" fmla="*/ 34 w 60"/>
                <a:gd name="T29" fmla="*/ 144 h 146"/>
                <a:gd name="T30" fmla="*/ 26 w 60"/>
                <a:gd name="T31" fmla="*/ 142 h 146"/>
                <a:gd name="T32" fmla="*/ 22 w 60"/>
                <a:gd name="T33" fmla="*/ 138 h 146"/>
                <a:gd name="T34" fmla="*/ 22 w 60"/>
                <a:gd name="T35" fmla="*/ 134 h 146"/>
                <a:gd name="T36" fmla="*/ 20 w 60"/>
                <a:gd name="T37" fmla="*/ 122 h 146"/>
                <a:gd name="T38" fmla="*/ 20 w 60"/>
                <a:gd name="T39" fmla="*/ 50 h 146"/>
                <a:gd name="T40" fmla="*/ 0 w 60"/>
                <a:gd name="T41" fmla="*/ 50 h 146"/>
                <a:gd name="T42" fmla="*/ 0 w 60"/>
                <a:gd name="T43" fmla="*/ 34 h 146"/>
                <a:gd name="T44" fmla="*/ 20 w 60"/>
                <a:gd name="T45" fmla="*/ 34 h 146"/>
                <a:gd name="T46" fmla="*/ 20 w 60"/>
                <a:gd name="T47" fmla="*/ 0 h 146"/>
                <a:gd name="T48" fmla="*/ 38 w 60"/>
                <a:gd name="T49" fmla="*/ 0 h 146"/>
                <a:gd name="T50" fmla="*/ 38 w 60"/>
                <a:gd name="T51" fmla="*/ 3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46">
                  <a:moveTo>
                    <a:pt x="38" y="34"/>
                  </a:moveTo>
                  <a:lnTo>
                    <a:pt x="60" y="34"/>
                  </a:lnTo>
                  <a:lnTo>
                    <a:pt x="60" y="50"/>
                  </a:lnTo>
                  <a:lnTo>
                    <a:pt x="38" y="5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40" y="128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60" y="130"/>
                  </a:lnTo>
                  <a:lnTo>
                    <a:pt x="60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34" y="144"/>
                  </a:lnTo>
                  <a:lnTo>
                    <a:pt x="26" y="142"/>
                  </a:lnTo>
                  <a:lnTo>
                    <a:pt x="22" y="138"/>
                  </a:lnTo>
                  <a:lnTo>
                    <a:pt x="22" y="134"/>
                  </a:lnTo>
                  <a:lnTo>
                    <a:pt x="20" y="122"/>
                  </a:lnTo>
                  <a:lnTo>
                    <a:pt x="20" y="50"/>
                  </a:lnTo>
                  <a:lnTo>
                    <a:pt x="0" y="50"/>
                  </a:lnTo>
                  <a:lnTo>
                    <a:pt x="0" y="34"/>
                  </a:lnTo>
                  <a:lnTo>
                    <a:pt x="20" y="34"/>
                  </a:lnTo>
                  <a:lnTo>
                    <a:pt x="20" y="0"/>
                  </a:lnTo>
                  <a:lnTo>
                    <a:pt x="38" y="0"/>
                  </a:lnTo>
                  <a:lnTo>
                    <a:pt x="38" y="3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799138" y="5800725"/>
              <a:ext cx="28575" cy="247650"/>
            </a:xfrm>
            <a:custGeom>
              <a:avLst/>
              <a:gdLst>
                <a:gd name="T0" fmla="*/ 18 w 18"/>
                <a:gd name="T1" fmla="*/ 22 h 156"/>
                <a:gd name="T2" fmla="*/ 0 w 18"/>
                <a:gd name="T3" fmla="*/ 22 h 156"/>
                <a:gd name="T4" fmla="*/ 0 w 18"/>
                <a:gd name="T5" fmla="*/ 0 h 156"/>
                <a:gd name="T6" fmla="*/ 18 w 18"/>
                <a:gd name="T7" fmla="*/ 0 h 156"/>
                <a:gd name="T8" fmla="*/ 18 w 18"/>
                <a:gd name="T9" fmla="*/ 22 h 156"/>
                <a:gd name="T10" fmla="*/ 0 w 18"/>
                <a:gd name="T11" fmla="*/ 44 h 156"/>
                <a:gd name="T12" fmla="*/ 18 w 18"/>
                <a:gd name="T13" fmla="*/ 44 h 156"/>
                <a:gd name="T14" fmla="*/ 18 w 18"/>
                <a:gd name="T15" fmla="*/ 156 h 156"/>
                <a:gd name="T16" fmla="*/ 0 w 18"/>
                <a:gd name="T17" fmla="*/ 156 h 156"/>
                <a:gd name="T18" fmla="*/ 0 w 18"/>
                <a:gd name="T19" fmla="*/ 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6">
                  <a:moveTo>
                    <a:pt x="18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22"/>
                  </a:lnTo>
                  <a:close/>
                  <a:moveTo>
                    <a:pt x="0" y="44"/>
                  </a:moveTo>
                  <a:lnTo>
                    <a:pt x="18" y="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856288" y="5816600"/>
              <a:ext cx="95250" cy="231775"/>
            </a:xfrm>
            <a:custGeom>
              <a:avLst/>
              <a:gdLst>
                <a:gd name="T0" fmla="*/ 38 w 60"/>
                <a:gd name="T1" fmla="*/ 34 h 146"/>
                <a:gd name="T2" fmla="*/ 60 w 60"/>
                <a:gd name="T3" fmla="*/ 34 h 146"/>
                <a:gd name="T4" fmla="*/ 60 w 60"/>
                <a:gd name="T5" fmla="*/ 50 h 146"/>
                <a:gd name="T6" fmla="*/ 38 w 60"/>
                <a:gd name="T7" fmla="*/ 50 h 146"/>
                <a:gd name="T8" fmla="*/ 38 w 60"/>
                <a:gd name="T9" fmla="*/ 120 h 146"/>
                <a:gd name="T10" fmla="*/ 38 w 60"/>
                <a:gd name="T11" fmla="*/ 120 h 146"/>
                <a:gd name="T12" fmla="*/ 38 w 60"/>
                <a:gd name="T13" fmla="*/ 124 h 146"/>
                <a:gd name="T14" fmla="*/ 40 w 60"/>
                <a:gd name="T15" fmla="*/ 128 h 146"/>
                <a:gd name="T16" fmla="*/ 44 w 60"/>
                <a:gd name="T17" fmla="*/ 130 h 146"/>
                <a:gd name="T18" fmla="*/ 52 w 60"/>
                <a:gd name="T19" fmla="*/ 130 h 146"/>
                <a:gd name="T20" fmla="*/ 60 w 60"/>
                <a:gd name="T21" fmla="*/ 130 h 146"/>
                <a:gd name="T22" fmla="*/ 60 w 60"/>
                <a:gd name="T23" fmla="*/ 146 h 146"/>
                <a:gd name="T24" fmla="*/ 46 w 60"/>
                <a:gd name="T25" fmla="*/ 146 h 146"/>
                <a:gd name="T26" fmla="*/ 46 w 60"/>
                <a:gd name="T27" fmla="*/ 146 h 146"/>
                <a:gd name="T28" fmla="*/ 34 w 60"/>
                <a:gd name="T29" fmla="*/ 144 h 146"/>
                <a:gd name="T30" fmla="*/ 24 w 60"/>
                <a:gd name="T31" fmla="*/ 142 h 146"/>
                <a:gd name="T32" fmla="*/ 22 w 60"/>
                <a:gd name="T33" fmla="*/ 138 h 146"/>
                <a:gd name="T34" fmla="*/ 20 w 60"/>
                <a:gd name="T35" fmla="*/ 134 h 146"/>
                <a:gd name="T36" fmla="*/ 18 w 60"/>
                <a:gd name="T37" fmla="*/ 122 h 146"/>
                <a:gd name="T38" fmla="*/ 18 w 60"/>
                <a:gd name="T39" fmla="*/ 50 h 146"/>
                <a:gd name="T40" fmla="*/ 0 w 60"/>
                <a:gd name="T41" fmla="*/ 50 h 146"/>
                <a:gd name="T42" fmla="*/ 0 w 60"/>
                <a:gd name="T43" fmla="*/ 34 h 146"/>
                <a:gd name="T44" fmla="*/ 18 w 60"/>
                <a:gd name="T45" fmla="*/ 34 h 146"/>
                <a:gd name="T46" fmla="*/ 18 w 60"/>
                <a:gd name="T47" fmla="*/ 0 h 146"/>
                <a:gd name="T48" fmla="*/ 38 w 60"/>
                <a:gd name="T49" fmla="*/ 0 h 146"/>
                <a:gd name="T50" fmla="*/ 38 w 60"/>
                <a:gd name="T51" fmla="*/ 3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46">
                  <a:moveTo>
                    <a:pt x="38" y="34"/>
                  </a:moveTo>
                  <a:lnTo>
                    <a:pt x="60" y="34"/>
                  </a:lnTo>
                  <a:lnTo>
                    <a:pt x="60" y="50"/>
                  </a:lnTo>
                  <a:lnTo>
                    <a:pt x="38" y="5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40" y="128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60" y="130"/>
                  </a:lnTo>
                  <a:lnTo>
                    <a:pt x="60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34" y="144"/>
                  </a:lnTo>
                  <a:lnTo>
                    <a:pt x="24" y="142"/>
                  </a:lnTo>
                  <a:lnTo>
                    <a:pt x="22" y="138"/>
                  </a:lnTo>
                  <a:lnTo>
                    <a:pt x="20" y="134"/>
                  </a:lnTo>
                  <a:lnTo>
                    <a:pt x="18" y="122"/>
                  </a:lnTo>
                  <a:lnTo>
                    <a:pt x="18" y="50"/>
                  </a:lnTo>
                  <a:lnTo>
                    <a:pt x="0" y="50"/>
                  </a:lnTo>
                  <a:lnTo>
                    <a:pt x="0" y="34"/>
                  </a:lnTo>
                  <a:lnTo>
                    <a:pt x="18" y="34"/>
                  </a:lnTo>
                  <a:lnTo>
                    <a:pt x="18" y="0"/>
                  </a:lnTo>
                  <a:lnTo>
                    <a:pt x="38" y="0"/>
                  </a:lnTo>
                  <a:lnTo>
                    <a:pt x="38" y="3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5986463" y="5800725"/>
              <a:ext cx="28575" cy="247650"/>
            </a:xfrm>
            <a:custGeom>
              <a:avLst/>
              <a:gdLst>
                <a:gd name="T0" fmla="*/ 18 w 18"/>
                <a:gd name="T1" fmla="*/ 22 h 156"/>
                <a:gd name="T2" fmla="*/ 0 w 18"/>
                <a:gd name="T3" fmla="*/ 22 h 156"/>
                <a:gd name="T4" fmla="*/ 0 w 18"/>
                <a:gd name="T5" fmla="*/ 0 h 156"/>
                <a:gd name="T6" fmla="*/ 18 w 18"/>
                <a:gd name="T7" fmla="*/ 0 h 156"/>
                <a:gd name="T8" fmla="*/ 18 w 18"/>
                <a:gd name="T9" fmla="*/ 22 h 156"/>
                <a:gd name="T10" fmla="*/ 0 w 18"/>
                <a:gd name="T11" fmla="*/ 44 h 156"/>
                <a:gd name="T12" fmla="*/ 18 w 18"/>
                <a:gd name="T13" fmla="*/ 44 h 156"/>
                <a:gd name="T14" fmla="*/ 18 w 18"/>
                <a:gd name="T15" fmla="*/ 156 h 156"/>
                <a:gd name="T16" fmla="*/ 0 w 18"/>
                <a:gd name="T17" fmla="*/ 156 h 156"/>
                <a:gd name="T18" fmla="*/ 0 w 18"/>
                <a:gd name="T19" fmla="*/ 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6">
                  <a:moveTo>
                    <a:pt x="18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22"/>
                  </a:lnTo>
                  <a:close/>
                  <a:moveTo>
                    <a:pt x="0" y="44"/>
                  </a:moveTo>
                  <a:lnTo>
                    <a:pt x="18" y="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6043613" y="5870575"/>
              <a:ext cx="161925" cy="177800"/>
            </a:xfrm>
            <a:custGeom>
              <a:avLst/>
              <a:gdLst>
                <a:gd name="T0" fmla="*/ 62 w 102"/>
                <a:gd name="T1" fmla="*/ 112 h 112"/>
                <a:gd name="T2" fmla="*/ 42 w 102"/>
                <a:gd name="T3" fmla="*/ 112 h 112"/>
                <a:gd name="T4" fmla="*/ 0 w 102"/>
                <a:gd name="T5" fmla="*/ 0 h 112"/>
                <a:gd name="T6" fmla="*/ 20 w 102"/>
                <a:gd name="T7" fmla="*/ 0 h 112"/>
                <a:gd name="T8" fmla="*/ 52 w 102"/>
                <a:gd name="T9" fmla="*/ 94 h 112"/>
                <a:gd name="T10" fmla="*/ 52 w 102"/>
                <a:gd name="T11" fmla="*/ 94 h 112"/>
                <a:gd name="T12" fmla="*/ 84 w 102"/>
                <a:gd name="T13" fmla="*/ 0 h 112"/>
                <a:gd name="T14" fmla="*/ 102 w 102"/>
                <a:gd name="T15" fmla="*/ 0 h 112"/>
                <a:gd name="T16" fmla="*/ 62 w 102"/>
                <a:gd name="T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12">
                  <a:moveTo>
                    <a:pt x="62" y="112"/>
                  </a:moveTo>
                  <a:lnTo>
                    <a:pt x="42" y="112"/>
                  </a:lnTo>
                  <a:lnTo>
                    <a:pt x="0" y="0"/>
                  </a:lnTo>
                  <a:lnTo>
                    <a:pt x="20" y="0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62" y="112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6224588" y="5864225"/>
              <a:ext cx="165100" cy="1873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6 w 104"/>
                <a:gd name="T5" fmla="*/ 108 h 118"/>
                <a:gd name="T6" fmla="*/ 72 w 104"/>
                <a:gd name="T7" fmla="*/ 116 h 118"/>
                <a:gd name="T8" fmla="*/ 54 w 104"/>
                <a:gd name="T9" fmla="*/ 118 h 118"/>
                <a:gd name="T10" fmla="*/ 42 w 104"/>
                <a:gd name="T11" fmla="*/ 118 h 118"/>
                <a:gd name="T12" fmla="*/ 22 w 104"/>
                <a:gd name="T13" fmla="*/ 108 h 118"/>
                <a:gd name="T14" fmla="*/ 8 w 104"/>
                <a:gd name="T15" fmla="*/ 94 h 118"/>
                <a:gd name="T16" fmla="*/ 0 w 104"/>
                <a:gd name="T17" fmla="*/ 72 h 118"/>
                <a:gd name="T18" fmla="*/ 0 w 104"/>
                <a:gd name="T19" fmla="*/ 60 h 118"/>
                <a:gd name="T20" fmla="*/ 4 w 104"/>
                <a:gd name="T21" fmla="*/ 36 h 118"/>
                <a:gd name="T22" fmla="*/ 14 w 104"/>
                <a:gd name="T23" fmla="*/ 18 h 118"/>
                <a:gd name="T24" fmla="*/ 32 w 104"/>
                <a:gd name="T25" fmla="*/ 4 h 118"/>
                <a:gd name="T26" fmla="*/ 52 w 104"/>
                <a:gd name="T27" fmla="*/ 0 h 118"/>
                <a:gd name="T28" fmla="*/ 66 w 104"/>
                <a:gd name="T29" fmla="*/ 2 h 118"/>
                <a:gd name="T30" fmla="*/ 86 w 104"/>
                <a:gd name="T31" fmla="*/ 14 h 118"/>
                <a:gd name="T32" fmla="*/ 98 w 104"/>
                <a:gd name="T33" fmla="*/ 32 h 118"/>
                <a:gd name="T34" fmla="*/ 104 w 104"/>
                <a:gd name="T35" fmla="*/ 54 h 118"/>
                <a:gd name="T36" fmla="*/ 20 w 104"/>
                <a:gd name="T37" fmla="*/ 66 h 118"/>
                <a:gd name="T38" fmla="*/ 22 w 104"/>
                <a:gd name="T39" fmla="*/ 80 h 118"/>
                <a:gd name="T40" fmla="*/ 28 w 104"/>
                <a:gd name="T41" fmla="*/ 90 h 118"/>
                <a:gd name="T42" fmla="*/ 38 w 104"/>
                <a:gd name="T43" fmla="*/ 100 h 118"/>
                <a:gd name="T44" fmla="*/ 54 w 104"/>
                <a:gd name="T45" fmla="*/ 102 h 118"/>
                <a:gd name="T46" fmla="*/ 66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2 w 104"/>
                <a:gd name="T59" fmla="*/ 16 h 118"/>
                <a:gd name="T60" fmla="*/ 44 w 104"/>
                <a:gd name="T61" fmla="*/ 18 h 118"/>
                <a:gd name="T62" fmla="*/ 34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100" y="88"/>
                  </a:lnTo>
                  <a:lnTo>
                    <a:pt x="96" y="96"/>
                  </a:lnTo>
                  <a:lnTo>
                    <a:pt x="92" y="104"/>
                  </a:lnTo>
                  <a:lnTo>
                    <a:pt x="86" y="108"/>
                  </a:lnTo>
                  <a:lnTo>
                    <a:pt x="78" y="112"/>
                  </a:lnTo>
                  <a:lnTo>
                    <a:pt x="72" y="116"/>
                  </a:lnTo>
                  <a:lnTo>
                    <a:pt x="62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0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4" y="82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46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2" y="4"/>
                  </a:lnTo>
                  <a:lnTo>
                    <a:pt x="42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6" y="14"/>
                  </a:lnTo>
                  <a:lnTo>
                    <a:pt x="94" y="22"/>
                  </a:lnTo>
                  <a:lnTo>
                    <a:pt x="98" y="32"/>
                  </a:lnTo>
                  <a:lnTo>
                    <a:pt x="102" y="44"/>
                  </a:lnTo>
                  <a:lnTo>
                    <a:pt x="104" y="54"/>
                  </a:lnTo>
                  <a:lnTo>
                    <a:pt x="104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80"/>
                  </a:lnTo>
                  <a:lnTo>
                    <a:pt x="24" y="86"/>
                  </a:lnTo>
                  <a:lnTo>
                    <a:pt x="28" y="90"/>
                  </a:lnTo>
                  <a:lnTo>
                    <a:pt x="32" y="96"/>
                  </a:lnTo>
                  <a:lnTo>
                    <a:pt x="38" y="100"/>
                  </a:lnTo>
                  <a:lnTo>
                    <a:pt x="46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6" y="100"/>
                  </a:lnTo>
                  <a:lnTo>
                    <a:pt x="74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2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4" y="22"/>
                  </a:lnTo>
                  <a:lnTo>
                    <a:pt x="28" y="26"/>
                  </a:lnTo>
                  <a:lnTo>
                    <a:pt x="22" y="36"/>
                  </a:lnTo>
                  <a:lnTo>
                    <a:pt x="20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6421438" y="5864225"/>
              <a:ext cx="146050" cy="184150"/>
            </a:xfrm>
            <a:custGeom>
              <a:avLst/>
              <a:gdLst>
                <a:gd name="T0" fmla="*/ 0 w 92"/>
                <a:gd name="T1" fmla="*/ 4 h 116"/>
                <a:gd name="T2" fmla="*/ 16 w 92"/>
                <a:gd name="T3" fmla="*/ 4 h 116"/>
                <a:gd name="T4" fmla="*/ 16 w 92"/>
                <a:gd name="T5" fmla="*/ 20 h 116"/>
                <a:gd name="T6" fmla="*/ 16 w 92"/>
                <a:gd name="T7" fmla="*/ 20 h 116"/>
                <a:gd name="T8" fmla="*/ 16 w 92"/>
                <a:gd name="T9" fmla="*/ 20 h 116"/>
                <a:gd name="T10" fmla="*/ 24 w 92"/>
                <a:gd name="T11" fmla="*/ 12 h 116"/>
                <a:gd name="T12" fmla="*/ 32 w 92"/>
                <a:gd name="T13" fmla="*/ 6 h 116"/>
                <a:gd name="T14" fmla="*/ 42 w 92"/>
                <a:gd name="T15" fmla="*/ 2 h 116"/>
                <a:gd name="T16" fmla="*/ 54 w 92"/>
                <a:gd name="T17" fmla="*/ 0 h 116"/>
                <a:gd name="T18" fmla="*/ 54 w 92"/>
                <a:gd name="T19" fmla="*/ 0 h 116"/>
                <a:gd name="T20" fmla="*/ 64 w 92"/>
                <a:gd name="T21" fmla="*/ 2 h 116"/>
                <a:gd name="T22" fmla="*/ 72 w 92"/>
                <a:gd name="T23" fmla="*/ 4 h 116"/>
                <a:gd name="T24" fmla="*/ 78 w 92"/>
                <a:gd name="T25" fmla="*/ 8 h 116"/>
                <a:gd name="T26" fmla="*/ 84 w 92"/>
                <a:gd name="T27" fmla="*/ 12 h 116"/>
                <a:gd name="T28" fmla="*/ 88 w 92"/>
                <a:gd name="T29" fmla="*/ 18 h 116"/>
                <a:gd name="T30" fmla="*/ 90 w 92"/>
                <a:gd name="T31" fmla="*/ 26 h 116"/>
                <a:gd name="T32" fmla="*/ 92 w 92"/>
                <a:gd name="T33" fmla="*/ 42 h 116"/>
                <a:gd name="T34" fmla="*/ 92 w 92"/>
                <a:gd name="T35" fmla="*/ 116 h 116"/>
                <a:gd name="T36" fmla="*/ 74 w 92"/>
                <a:gd name="T37" fmla="*/ 116 h 116"/>
                <a:gd name="T38" fmla="*/ 74 w 92"/>
                <a:gd name="T39" fmla="*/ 40 h 116"/>
                <a:gd name="T40" fmla="*/ 74 w 92"/>
                <a:gd name="T41" fmla="*/ 40 h 116"/>
                <a:gd name="T42" fmla="*/ 72 w 92"/>
                <a:gd name="T43" fmla="*/ 30 h 116"/>
                <a:gd name="T44" fmla="*/ 68 w 92"/>
                <a:gd name="T45" fmla="*/ 22 h 116"/>
                <a:gd name="T46" fmla="*/ 60 w 92"/>
                <a:gd name="T47" fmla="*/ 18 h 116"/>
                <a:gd name="T48" fmla="*/ 50 w 92"/>
                <a:gd name="T49" fmla="*/ 16 h 116"/>
                <a:gd name="T50" fmla="*/ 50 w 92"/>
                <a:gd name="T51" fmla="*/ 16 h 116"/>
                <a:gd name="T52" fmla="*/ 44 w 92"/>
                <a:gd name="T53" fmla="*/ 18 h 116"/>
                <a:gd name="T54" fmla="*/ 36 w 92"/>
                <a:gd name="T55" fmla="*/ 20 h 116"/>
                <a:gd name="T56" fmla="*/ 30 w 92"/>
                <a:gd name="T57" fmla="*/ 22 h 116"/>
                <a:gd name="T58" fmla="*/ 26 w 92"/>
                <a:gd name="T59" fmla="*/ 26 h 116"/>
                <a:gd name="T60" fmla="*/ 22 w 92"/>
                <a:gd name="T61" fmla="*/ 32 h 116"/>
                <a:gd name="T62" fmla="*/ 20 w 92"/>
                <a:gd name="T63" fmla="*/ 38 h 116"/>
                <a:gd name="T64" fmla="*/ 18 w 92"/>
                <a:gd name="T65" fmla="*/ 52 h 116"/>
                <a:gd name="T66" fmla="*/ 18 w 92"/>
                <a:gd name="T67" fmla="*/ 116 h 116"/>
                <a:gd name="T68" fmla="*/ 0 w 92"/>
                <a:gd name="T69" fmla="*/ 116 h 116"/>
                <a:gd name="T70" fmla="*/ 0 w 92"/>
                <a:gd name="T71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116">
                  <a:moveTo>
                    <a:pt x="0" y="4"/>
                  </a:moveTo>
                  <a:lnTo>
                    <a:pt x="16" y="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4" y="12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2" y="4"/>
                  </a:lnTo>
                  <a:lnTo>
                    <a:pt x="78" y="8"/>
                  </a:lnTo>
                  <a:lnTo>
                    <a:pt x="84" y="12"/>
                  </a:lnTo>
                  <a:lnTo>
                    <a:pt x="88" y="18"/>
                  </a:lnTo>
                  <a:lnTo>
                    <a:pt x="90" y="26"/>
                  </a:lnTo>
                  <a:lnTo>
                    <a:pt x="92" y="42"/>
                  </a:lnTo>
                  <a:lnTo>
                    <a:pt x="92" y="116"/>
                  </a:lnTo>
                  <a:lnTo>
                    <a:pt x="74" y="116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2" y="30"/>
                  </a:lnTo>
                  <a:lnTo>
                    <a:pt x="68" y="22"/>
                  </a:lnTo>
                  <a:lnTo>
                    <a:pt x="6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30" y="22"/>
                  </a:lnTo>
                  <a:lnTo>
                    <a:pt x="26" y="26"/>
                  </a:lnTo>
                  <a:lnTo>
                    <a:pt x="22" y="32"/>
                  </a:lnTo>
                  <a:lnTo>
                    <a:pt x="20" y="38"/>
                  </a:lnTo>
                  <a:lnTo>
                    <a:pt x="18" y="52"/>
                  </a:lnTo>
                  <a:lnTo>
                    <a:pt x="18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6602413" y="5864225"/>
              <a:ext cx="165100" cy="1873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6 w 104"/>
                <a:gd name="T5" fmla="*/ 108 h 118"/>
                <a:gd name="T6" fmla="*/ 72 w 104"/>
                <a:gd name="T7" fmla="*/ 116 h 118"/>
                <a:gd name="T8" fmla="*/ 54 w 104"/>
                <a:gd name="T9" fmla="*/ 118 h 118"/>
                <a:gd name="T10" fmla="*/ 42 w 104"/>
                <a:gd name="T11" fmla="*/ 118 h 118"/>
                <a:gd name="T12" fmla="*/ 22 w 104"/>
                <a:gd name="T13" fmla="*/ 108 h 118"/>
                <a:gd name="T14" fmla="*/ 8 w 104"/>
                <a:gd name="T15" fmla="*/ 94 h 118"/>
                <a:gd name="T16" fmla="*/ 2 w 104"/>
                <a:gd name="T17" fmla="*/ 72 h 118"/>
                <a:gd name="T18" fmla="*/ 0 w 104"/>
                <a:gd name="T19" fmla="*/ 60 h 118"/>
                <a:gd name="T20" fmla="*/ 4 w 104"/>
                <a:gd name="T21" fmla="*/ 36 h 118"/>
                <a:gd name="T22" fmla="*/ 16 w 104"/>
                <a:gd name="T23" fmla="*/ 18 h 118"/>
                <a:gd name="T24" fmla="*/ 32 w 104"/>
                <a:gd name="T25" fmla="*/ 4 h 118"/>
                <a:gd name="T26" fmla="*/ 54 w 104"/>
                <a:gd name="T27" fmla="*/ 0 h 118"/>
                <a:gd name="T28" fmla="*/ 66 w 104"/>
                <a:gd name="T29" fmla="*/ 2 h 118"/>
                <a:gd name="T30" fmla="*/ 88 w 104"/>
                <a:gd name="T31" fmla="*/ 14 h 118"/>
                <a:gd name="T32" fmla="*/ 100 w 104"/>
                <a:gd name="T33" fmla="*/ 32 h 118"/>
                <a:gd name="T34" fmla="*/ 104 w 104"/>
                <a:gd name="T35" fmla="*/ 54 h 118"/>
                <a:gd name="T36" fmla="*/ 20 w 104"/>
                <a:gd name="T37" fmla="*/ 66 h 118"/>
                <a:gd name="T38" fmla="*/ 22 w 104"/>
                <a:gd name="T39" fmla="*/ 80 h 118"/>
                <a:gd name="T40" fmla="*/ 28 w 104"/>
                <a:gd name="T41" fmla="*/ 90 h 118"/>
                <a:gd name="T42" fmla="*/ 40 w 104"/>
                <a:gd name="T43" fmla="*/ 100 h 118"/>
                <a:gd name="T44" fmla="*/ 56 w 104"/>
                <a:gd name="T45" fmla="*/ 102 h 118"/>
                <a:gd name="T46" fmla="*/ 66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2 w 104"/>
                <a:gd name="T59" fmla="*/ 16 h 118"/>
                <a:gd name="T60" fmla="*/ 46 w 104"/>
                <a:gd name="T61" fmla="*/ 18 h 118"/>
                <a:gd name="T62" fmla="*/ 34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100" y="88"/>
                  </a:lnTo>
                  <a:lnTo>
                    <a:pt x="96" y="96"/>
                  </a:lnTo>
                  <a:lnTo>
                    <a:pt x="92" y="104"/>
                  </a:lnTo>
                  <a:lnTo>
                    <a:pt x="86" y="108"/>
                  </a:lnTo>
                  <a:lnTo>
                    <a:pt x="80" y="112"/>
                  </a:lnTo>
                  <a:lnTo>
                    <a:pt x="72" y="116"/>
                  </a:lnTo>
                  <a:lnTo>
                    <a:pt x="64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0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4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6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6" y="18"/>
                  </a:lnTo>
                  <a:lnTo>
                    <a:pt x="22" y="10"/>
                  </a:lnTo>
                  <a:lnTo>
                    <a:pt x="32" y="4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8" y="14"/>
                  </a:lnTo>
                  <a:lnTo>
                    <a:pt x="94" y="22"/>
                  </a:lnTo>
                  <a:lnTo>
                    <a:pt x="100" y="32"/>
                  </a:lnTo>
                  <a:lnTo>
                    <a:pt x="102" y="44"/>
                  </a:lnTo>
                  <a:lnTo>
                    <a:pt x="104" y="54"/>
                  </a:lnTo>
                  <a:lnTo>
                    <a:pt x="104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80"/>
                  </a:lnTo>
                  <a:lnTo>
                    <a:pt x="24" y="86"/>
                  </a:lnTo>
                  <a:lnTo>
                    <a:pt x="28" y="90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66" y="100"/>
                  </a:lnTo>
                  <a:lnTo>
                    <a:pt x="74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2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6" y="18"/>
                  </a:lnTo>
                  <a:lnTo>
                    <a:pt x="40" y="20"/>
                  </a:lnTo>
                  <a:lnTo>
                    <a:pt x="34" y="22"/>
                  </a:lnTo>
                  <a:lnTo>
                    <a:pt x="30" y="26"/>
                  </a:lnTo>
                  <a:lnTo>
                    <a:pt x="22" y="36"/>
                  </a:lnTo>
                  <a:lnTo>
                    <a:pt x="20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6786563" y="5864225"/>
              <a:ext cx="152400" cy="187325"/>
            </a:xfrm>
            <a:custGeom>
              <a:avLst/>
              <a:gdLst>
                <a:gd name="T0" fmla="*/ 18 w 96"/>
                <a:gd name="T1" fmla="*/ 80 h 118"/>
                <a:gd name="T2" fmla="*/ 22 w 96"/>
                <a:gd name="T3" fmla="*/ 90 h 118"/>
                <a:gd name="T4" fmla="*/ 28 w 96"/>
                <a:gd name="T5" fmla="*/ 98 h 118"/>
                <a:gd name="T6" fmla="*/ 50 w 96"/>
                <a:gd name="T7" fmla="*/ 102 h 118"/>
                <a:gd name="T8" fmla="*/ 58 w 96"/>
                <a:gd name="T9" fmla="*/ 102 h 118"/>
                <a:gd name="T10" fmla="*/ 74 w 96"/>
                <a:gd name="T11" fmla="*/ 94 h 118"/>
                <a:gd name="T12" fmla="*/ 76 w 96"/>
                <a:gd name="T13" fmla="*/ 86 h 118"/>
                <a:gd name="T14" fmla="*/ 76 w 96"/>
                <a:gd name="T15" fmla="*/ 80 h 118"/>
                <a:gd name="T16" fmla="*/ 70 w 96"/>
                <a:gd name="T17" fmla="*/ 74 h 118"/>
                <a:gd name="T18" fmla="*/ 54 w 96"/>
                <a:gd name="T19" fmla="*/ 68 h 118"/>
                <a:gd name="T20" fmla="*/ 40 w 96"/>
                <a:gd name="T21" fmla="*/ 64 h 118"/>
                <a:gd name="T22" fmla="*/ 14 w 96"/>
                <a:gd name="T23" fmla="*/ 54 h 118"/>
                <a:gd name="T24" fmla="*/ 6 w 96"/>
                <a:gd name="T25" fmla="*/ 46 h 118"/>
                <a:gd name="T26" fmla="*/ 2 w 96"/>
                <a:gd name="T27" fmla="*/ 32 h 118"/>
                <a:gd name="T28" fmla="*/ 4 w 96"/>
                <a:gd name="T29" fmla="*/ 24 h 118"/>
                <a:gd name="T30" fmla="*/ 10 w 96"/>
                <a:gd name="T31" fmla="*/ 12 h 118"/>
                <a:gd name="T32" fmla="*/ 22 w 96"/>
                <a:gd name="T33" fmla="*/ 4 h 118"/>
                <a:gd name="T34" fmla="*/ 44 w 96"/>
                <a:gd name="T35" fmla="*/ 0 h 118"/>
                <a:gd name="T36" fmla="*/ 62 w 96"/>
                <a:gd name="T37" fmla="*/ 2 h 118"/>
                <a:gd name="T38" fmla="*/ 76 w 96"/>
                <a:gd name="T39" fmla="*/ 8 h 118"/>
                <a:gd name="T40" fmla="*/ 86 w 96"/>
                <a:gd name="T41" fmla="*/ 18 h 118"/>
                <a:gd name="T42" fmla="*/ 92 w 96"/>
                <a:gd name="T43" fmla="*/ 36 h 118"/>
                <a:gd name="T44" fmla="*/ 72 w 96"/>
                <a:gd name="T45" fmla="*/ 36 h 118"/>
                <a:gd name="T46" fmla="*/ 64 w 96"/>
                <a:gd name="T47" fmla="*/ 20 h 118"/>
                <a:gd name="T48" fmla="*/ 46 w 96"/>
                <a:gd name="T49" fmla="*/ 16 h 118"/>
                <a:gd name="T50" fmla="*/ 38 w 96"/>
                <a:gd name="T51" fmla="*/ 18 h 118"/>
                <a:gd name="T52" fmla="*/ 24 w 96"/>
                <a:gd name="T53" fmla="*/ 24 h 118"/>
                <a:gd name="T54" fmla="*/ 22 w 96"/>
                <a:gd name="T55" fmla="*/ 32 h 118"/>
                <a:gd name="T56" fmla="*/ 24 w 96"/>
                <a:gd name="T57" fmla="*/ 36 h 118"/>
                <a:gd name="T58" fmla="*/ 34 w 96"/>
                <a:gd name="T59" fmla="*/ 44 h 118"/>
                <a:gd name="T60" fmla="*/ 60 w 96"/>
                <a:gd name="T61" fmla="*/ 50 h 118"/>
                <a:gd name="T62" fmla="*/ 72 w 96"/>
                <a:gd name="T63" fmla="*/ 54 h 118"/>
                <a:gd name="T64" fmla="*/ 90 w 96"/>
                <a:gd name="T65" fmla="*/ 64 h 118"/>
                <a:gd name="T66" fmla="*/ 96 w 96"/>
                <a:gd name="T67" fmla="*/ 76 h 118"/>
                <a:gd name="T68" fmla="*/ 96 w 96"/>
                <a:gd name="T69" fmla="*/ 82 h 118"/>
                <a:gd name="T70" fmla="*/ 92 w 96"/>
                <a:gd name="T71" fmla="*/ 100 h 118"/>
                <a:gd name="T72" fmla="*/ 80 w 96"/>
                <a:gd name="T73" fmla="*/ 110 h 118"/>
                <a:gd name="T74" fmla="*/ 66 w 96"/>
                <a:gd name="T75" fmla="*/ 116 h 118"/>
                <a:gd name="T76" fmla="*/ 48 w 96"/>
                <a:gd name="T77" fmla="*/ 118 h 118"/>
                <a:gd name="T78" fmla="*/ 22 w 96"/>
                <a:gd name="T79" fmla="*/ 114 h 118"/>
                <a:gd name="T80" fmla="*/ 10 w 96"/>
                <a:gd name="T81" fmla="*/ 104 h 118"/>
                <a:gd name="T82" fmla="*/ 2 w 96"/>
                <a:gd name="T83" fmla="*/ 90 h 118"/>
                <a:gd name="T84" fmla="*/ 18 w 96"/>
                <a:gd name="T85" fmla="*/ 8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118">
                  <a:moveTo>
                    <a:pt x="18" y="80"/>
                  </a:moveTo>
                  <a:lnTo>
                    <a:pt x="18" y="80"/>
                  </a:lnTo>
                  <a:lnTo>
                    <a:pt x="20" y="86"/>
                  </a:lnTo>
                  <a:lnTo>
                    <a:pt x="22" y="90"/>
                  </a:lnTo>
                  <a:lnTo>
                    <a:pt x="24" y="94"/>
                  </a:lnTo>
                  <a:lnTo>
                    <a:pt x="28" y="98"/>
                  </a:lnTo>
                  <a:lnTo>
                    <a:pt x="38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8" y="102"/>
                  </a:lnTo>
                  <a:lnTo>
                    <a:pt x="68" y="100"/>
                  </a:lnTo>
                  <a:lnTo>
                    <a:pt x="74" y="94"/>
                  </a:lnTo>
                  <a:lnTo>
                    <a:pt x="76" y="90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0"/>
                  </a:lnTo>
                  <a:lnTo>
                    <a:pt x="74" y="76"/>
                  </a:lnTo>
                  <a:lnTo>
                    <a:pt x="70" y="74"/>
                  </a:lnTo>
                  <a:lnTo>
                    <a:pt x="66" y="72"/>
                  </a:lnTo>
                  <a:lnTo>
                    <a:pt x="54" y="68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26" y="60"/>
                  </a:lnTo>
                  <a:lnTo>
                    <a:pt x="14" y="54"/>
                  </a:lnTo>
                  <a:lnTo>
                    <a:pt x="10" y="52"/>
                  </a:lnTo>
                  <a:lnTo>
                    <a:pt x="6" y="46"/>
                  </a:lnTo>
                  <a:lnTo>
                    <a:pt x="4" y="4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6" y="18"/>
                  </a:lnTo>
                  <a:lnTo>
                    <a:pt x="10" y="12"/>
                  </a:lnTo>
                  <a:lnTo>
                    <a:pt x="16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2" y="2"/>
                  </a:lnTo>
                  <a:lnTo>
                    <a:pt x="70" y="4"/>
                  </a:lnTo>
                  <a:lnTo>
                    <a:pt x="76" y="8"/>
                  </a:lnTo>
                  <a:lnTo>
                    <a:pt x="82" y="12"/>
                  </a:lnTo>
                  <a:lnTo>
                    <a:pt x="86" y="18"/>
                  </a:lnTo>
                  <a:lnTo>
                    <a:pt x="90" y="26"/>
                  </a:lnTo>
                  <a:lnTo>
                    <a:pt x="9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0" y="26"/>
                  </a:lnTo>
                  <a:lnTo>
                    <a:pt x="64" y="20"/>
                  </a:lnTo>
                  <a:lnTo>
                    <a:pt x="56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2" y="28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6"/>
                  </a:lnTo>
                  <a:lnTo>
                    <a:pt x="26" y="40"/>
                  </a:lnTo>
                  <a:lnTo>
                    <a:pt x="34" y="44"/>
                  </a:lnTo>
                  <a:lnTo>
                    <a:pt x="46" y="48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0" y="64"/>
                  </a:lnTo>
                  <a:lnTo>
                    <a:pt x="92" y="70"/>
                  </a:lnTo>
                  <a:lnTo>
                    <a:pt x="96" y="76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92"/>
                  </a:lnTo>
                  <a:lnTo>
                    <a:pt x="92" y="100"/>
                  </a:lnTo>
                  <a:lnTo>
                    <a:pt x="86" y="106"/>
                  </a:lnTo>
                  <a:lnTo>
                    <a:pt x="80" y="110"/>
                  </a:lnTo>
                  <a:lnTo>
                    <a:pt x="74" y="114"/>
                  </a:lnTo>
                  <a:lnTo>
                    <a:pt x="66" y="116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30" y="116"/>
                  </a:lnTo>
                  <a:lnTo>
                    <a:pt x="22" y="114"/>
                  </a:lnTo>
                  <a:lnTo>
                    <a:pt x="16" y="110"/>
                  </a:lnTo>
                  <a:lnTo>
                    <a:pt x="10" y="104"/>
                  </a:lnTo>
                  <a:lnTo>
                    <a:pt x="4" y="98"/>
                  </a:lnTo>
                  <a:lnTo>
                    <a:pt x="2" y="90"/>
                  </a:lnTo>
                  <a:lnTo>
                    <a:pt x="0" y="80"/>
                  </a:lnTo>
                  <a:lnTo>
                    <a:pt x="18" y="80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961188" y="5864225"/>
              <a:ext cx="152400" cy="187325"/>
            </a:xfrm>
            <a:custGeom>
              <a:avLst/>
              <a:gdLst>
                <a:gd name="T0" fmla="*/ 18 w 96"/>
                <a:gd name="T1" fmla="*/ 80 h 118"/>
                <a:gd name="T2" fmla="*/ 20 w 96"/>
                <a:gd name="T3" fmla="*/ 90 h 118"/>
                <a:gd name="T4" fmla="*/ 28 w 96"/>
                <a:gd name="T5" fmla="*/ 98 h 118"/>
                <a:gd name="T6" fmla="*/ 48 w 96"/>
                <a:gd name="T7" fmla="*/ 102 h 118"/>
                <a:gd name="T8" fmla="*/ 58 w 96"/>
                <a:gd name="T9" fmla="*/ 102 h 118"/>
                <a:gd name="T10" fmla="*/ 72 w 96"/>
                <a:gd name="T11" fmla="*/ 94 h 118"/>
                <a:gd name="T12" fmla="*/ 76 w 96"/>
                <a:gd name="T13" fmla="*/ 86 h 118"/>
                <a:gd name="T14" fmla="*/ 74 w 96"/>
                <a:gd name="T15" fmla="*/ 80 h 118"/>
                <a:gd name="T16" fmla="*/ 68 w 96"/>
                <a:gd name="T17" fmla="*/ 74 h 118"/>
                <a:gd name="T18" fmla="*/ 52 w 96"/>
                <a:gd name="T19" fmla="*/ 68 h 118"/>
                <a:gd name="T20" fmla="*/ 38 w 96"/>
                <a:gd name="T21" fmla="*/ 64 h 118"/>
                <a:gd name="T22" fmla="*/ 14 w 96"/>
                <a:gd name="T23" fmla="*/ 54 h 118"/>
                <a:gd name="T24" fmla="*/ 6 w 96"/>
                <a:gd name="T25" fmla="*/ 46 h 118"/>
                <a:gd name="T26" fmla="*/ 2 w 96"/>
                <a:gd name="T27" fmla="*/ 32 h 118"/>
                <a:gd name="T28" fmla="*/ 2 w 96"/>
                <a:gd name="T29" fmla="*/ 24 h 118"/>
                <a:gd name="T30" fmla="*/ 10 w 96"/>
                <a:gd name="T31" fmla="*/ 12 h 118"/>
                <a:gd name="T32" fmla="*/ 22 w 96"/>
                <a:gd name="T33" fmla="*/ 4 h 118"/>
                <a:gd name="T34" fmla="*/ 44 w 96"/>
                <a:gd name="T35" fmla="*/ 0 h 118"/>
                <a:gd name="T36" fmla="*/ 62 w 96"/>
                <a:gd name="T37" fmla="*/ 2 h 118"/>
                <a:gd name="T38" fmla="*/ 76 w 96"/>
                <a:gd name="T39" fmla="*/ 8 h 118"/>
                <a:gd name="T40" fmla="*/ 86 w 96"/>
                <a:gd name="T41" fmla="*/ 18 h 118"/>
                <a:gd name="T42" fmla="*/ 90 w 96"/>
                <a:gd name="T43" fmla="*/ 36 h 118"/>
                <a:gd name="T44" fmla="*/ 72 w 96"/>
                <a:gd name="T45" fmla="*/ 36 h 118"/>
                <a:gd name="T46" fmla="*/ 62 w 96"/>
                <a:gd name="T47" fmla="*/ 20 h 118"/>
                <a:gd name="T48" fmla="*/ 46 w 96"/>
                <a:gd name="T49" fmla="*/ 16 h 118"/>
                <a:gd name="T50" fmla="*/ 38 w 96"/>
                <a:gd name="T51" fmla="*/ 18 h 118"/>
                <a:gd name="T52" fmla="*/ 24 w 96"/>
                <a:gd name="T53" fmla="*/ 24 h 118"/>
                <a:gd name="T54" fmla="*/ 22 w 96"/>
                <a:gd name="T55" fmla="*/ 32 h 118"/>
                <a:gd name="T56" fmla="*/ 22 w 96"/>
                <a:gd name="T57" fmla="*/ 36 h 118"/>
                <a:gd name="T58" fmla="*/ 34 w 96"/>
                <a:gd name="T59" fmla="*/ 44 h 118"/>
                <a:gd name="T60" fmla="*/ 58 w 96"/>
                <a:gd name="T61" fmla="*/ 50 h 118"/>
                <a:gd name="T62" fmla="*/ 72 w 96"/>
                <a:gd name="T63" fmla="*/ 54 h 118"/>
                <a:gd name="T64" fmla="*/ 88 w 96"/>
                <a:gd name="T65" fmla="*/ 64 h 118"/>
                <a:gd name="T66" fmla="*/ 94 w 96"/>
                <a:gd name="T67" fmla="*/ 76 h 118"/>
                <a:gd name="T68" fmla="*/ 96 w 96"/>
                <a:gd name="T69" fmla="*/ 82 h 118"/>
                <a:gd name="T70" fmla="*/ 90 w 96"/>
                <a:gd name="T71" fmla="*/ 100 h 118"/>
                <a:gd name="T72" fmla="*/ 80 w 96"/>
                <a:gd name="T73" fmla="*/ 110 h 118"/>
                <a:gd name="T74" fmla="*/ 64 w 96"/>
                <a:gd name="T75" fmla="*/ 116 h 118"/>
                <a:gd name="T76" fmla="*/ 48 w 96"/>
                <a:gd name="T77" fmla="*/ 118 h 118"/>
                <a:gd name="T78" fmla="*/ 22 w 96"/>
                <a:gd name="T79" fmla="*/ 114 h 118"/>
                <a:gd name="T80" fmla="*/ 8 w 96"/>
                <a:gd name="T81" fmla="*/ 104 h 118"/>
                <a:gd name="T82" fmla="*/ 0 w 96"/>
                <a:gd name="T83" fmla="*/ 90 h 118"/>
                <a:gd name="T84" fmla="*/ 18 w 96"/>
                <a:gd name="T85" fmla="*/ 8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118">
                  <a:moveTo>
                    <a:pt x="18" y="80"/>
                  </a:moveTo>
                  <a:lnTo>
                    <a:pt x="18" y="80"/>
                  </a:lnTo>
                  <a:lnTo>
                    <a:pt x="18" y="86"/>
                  </a:lnTo>
                  <a:lnTo>
                    <a:pt x="20" y="90"/>
                  </a:lnTo>
                  <a:lnTo>
                    <a:pt x="24" y="94"/>
                  </a:lnTo>
                  <a:lnTo>
                    <a:pt x="28" y="98"/>
                  </a:lnTo>
                  <a:lnTo>
                    <a:pt x="3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58" y="102"/>
                  </a:lnTo>
                  <a:lnTo>
                    <a:pt x="66" y="100"/>
                  </a:lnTo>
                  <a:lnTo>
                    <a:pt x="72" y="94"/>
                  </a:lnTo>
                  <a:lnTo>
                    <a:pt x="74" y="90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0"/>
                  </a:lnTo>
                  <a:lnTo>
                    <a:pt x="72" y="76"/>
                  </a:lnTo>
                  <a:lnTo>
                    <a:pt x="68" y="74"/>
                  </a:lnTo>
                  <a:lnTo>
                    <a:pt x="64" y="72"/>
                  </a:lnTo>
                  <a:lnTo>
                    <a:pt x="52" y="68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26" y="60"/>
                  </a:lnTo>
                  <a:lnTo>
                    <a:pt x="14" y="54"/>
                  </a:lnTo>
                  <a:lnTo>
                    <a:pt x="8" y="52"/>
                  </a:lnTo>
                  <a:lnTo>
                    <a:pt x="6" y="46"/>
                  </a:lnTo>
                  <a:lnTo>
                    <a:pt x="2" y="4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4"/>
                  </a:lnTo>
                  <a:lnTo>
                    <a:pt x="6" y="18"/>
                  </a:lnTo>
                  <a:lnTo>
                    <a:pt x="10" y="12"/>
                  </a:lnTo>
                  <a:lnTo>
                    <a:pt x="16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2" y="2"/>
                  </a:lnTo>
                  <a:lnTo>
                    <a:pt x="70" y="4"/>
                  </a:lnTo>
                  <a:lnTo>
                    <a:pt x="76" y="8"/>
                  </a:lnTo>
                  <a:lnTo>
                    <a:pt x="82" y="12"/>
                  </a:lnTo>
                  <a:lnTo>
                    <a:pt x="86" y="18"/>
                  </a:lnTo>
                  <a:lnTo>
                    <a:pt x="88" y="26"/>
                  </a:lnTo>
                  <a:lnTo>
                    <a:pt x="90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8" y="26"/>
                  </a:lnTo>
                  <a:lnTo>
                    <a:pt x="62" y="20"/>
                  </a:lnTo>
                  <a:lnTo>
                    <a:pt x="5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2" y="28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34" y="44"/>
                  </a:lnTo>
                  <a:lnTo>
                    <a:pt x="46" y="4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88" y="64"/>
                  </a:lnTo>
                  <a:lnTo>
                    <a:pt x="92" y="70"/>
                  </a:lnTo>
                  <a:lnTo>
                    <a:pt x="94" y="76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4" y="92"/>
                  </a:lnTo>
                  <a:lnTo>
                    <a:pt x="90" y="100"/>
                  </a:lnTo>
                  <a:lnTo>
                    <a:pt x="86" y="106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64" y="116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30" y="116"/>
                  </a:lnTo>
                  <a:lnTo>
                    <a:pt x="22" y="114"/>
                  </a:lnTo>
                  <a:lnTo>
                    <a:pt x="14" y="110"/>
                  </a:lnTo>
                  <a:lnTo>
                    <a:pt x="8" y="104"/>
                  </a:lnTo>
                  <a:lnTo>
                    <a:pt x="4" y="98"/>
                  </a:lnTo>
                  <a:lnTo>
                    <a:pt x="0" y="90"/>
                  </a:lnTo>
                  <a:lnTo>
                    <a:pt x="0" y="80"/>
                  </a:lnTo>
                  <a:lnTo>
                    <a:pt x="18" y="80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3440113" y="5099050"/>
              <a:ext cx="441325" cy="498475"/>
            </a:xfrm>
            <a:custGeom>
              <a:avLst/>
              <a:gdLst>
                <a:gd name="T0" fmla="*/ 0 w 278"/>
                <a:gd name="T1" fmla="*/ 0 h 314"/>
                <a:gd name="T2" fmla="*/ 136 w 278"/>
                <a:gd name="T3" fmla="*/ 0 h 314"/>
                <a:gd name="T4" fmla="*/ 136 w 278"/>
                <a:gd name="T5" fmla="*/ 0 h 314"/>
                <a:gd name="T6" fmla="*/ 150 w 278"/>
                <a:gd name="T7" fmla="*/ 2 h 314"/>
                <a:gd name="T8" fmla="*/ 164 w 278"/>
                <a:gd name="T9" fmla="*/ 2 h 314"/>
                <a:gd name="T10" fmla="*/ 178 w 278"/>
                <a:gd name="T11" fmla="*/ 6 h 314"/>
                <a:gd name="T12" fmla="*/ 192 w 278"/>
                <a:gd name="T13" fmla="*/ 10 h 314"/>
                <a:gd name="T14" fmla="*/ 204 w 278"/>
                <a:gd name="T15" fmla="*/ 16 h 314"/>
                <a:gd name="T16" fmla="*/ 216 w 278"/>
                <a:gd name="T17" fmla="*/ 22 h 314"/>
                <a:gd name="T18" fmla="*/ 226 w 278"/>
                <a:gd name="T19" fmla="*/ 30 h 314"/>
                <a:gd name="T20" fmla="*/ 236 w 278"/>
                <a:gd name="T21" fmla="*/ 38 h 314"/>
                <a:gd name="T22" fmla="*/ 246 w 278"/>
                <a:gd name="T23" fmla="*/ 50 h 314"/>
                <a:gd name="T24" fmla="*/ 254 w 278"/>
                <a:gd name="T25" fmla="*/ 60 h 314"/>
                <a:gd name="T26" fmla="*/ 262 w 278"/>
                <a:gd name="T27" fmla="*/ 74 h 314"/>
                <a:gd name="T28" fmla="*/ 266 w 278"/>
                <a:gd name="T29" fmla="*/ 88 h 314"/>
                <a:gd name="T30" fmla="*/ 272 w 278"/>
                <a:gd name="T31" fmla="*/ 102 h 314"/>
                <a:gd name="T32" fmla="*/ 274 w 278"/>
                <a:gd name="T33" fmla="*/ 118 h 314"/>
                <a:gd name="T34" fmla="*/ 276 w 278"/>
                <a:gd name="T35" fmla="*/ 136 h 314"/>
                <a:gd name="T36" fmla="*/ 278 w 278"/>
                <a:gd name="T37" fmla="*/ 156 h 314"/>
                <a:gd name="T38" fmla="*/ 278 w 278"/>
                <a:gd name="T39" fmla="*/ 156 h 314"/>
                <a:gd name="T40" fmla="*/ 276 w 278"/>
                <a:gd name="T41" fmla="*/ 188 h 314"/>
                <a:gd name="T42" fmla="*/ 272 w 278"/>
                <a:gd name="T43" fmla="*/ 204 h 314"/>
                <a:gd name="T44" fmla="*/ 268 w 278"/>
                <a:gd name="T45" fmla="*/ 218 h 314"/>
                <a:gd name="T46" fmla="*/ 264 w 278"/>
                <a:gd name="T47" fmla="*/ 232 h 314"/>
                <a:gd name="T48" fmla="*/ 258 w 278"/>
                <a:gd name="T49" fmla="*/ 246 h 314"/>
                <a:gd name="T50" fmla="*/ 250 w 278"/>
                <a:gd name="T51" fmla="*/ 258 h 314"/>
                <a:gd name="T52" fmla="*/ 242 w 278"/>
                <a:gd name="T53" fmla="*/ 268 h 314"/>
                <a:gd name="T54" fmla="*/ 232 w 278"/>
                <a:gd name="T55" fmla="*/ 278 h 314"/>
                <a:gd name="T56" fmla="*/ 222 w 278"/>
                <a:gd name="T57" fmla="*/ 288 h 314"/>
                <a:gd name="T58" fmla="*/ 210 w 278"/>
                <a:gd name="T59" fmla="*/ 296 h 314"/>
                <a:gd name="T60" fmla="*/ 198 w 278"/>
                <a:gd name="T61" fmla="*/ 302 h 314"/>
                <a:gd name="T62" fmla="*/ 184 w 278"/>
                <a:gd name="T63" fmla="*/ 308 h 314"/>
                <a:gd name="T64" fmla="*/ 168 w 278"/>
                <a:gd name="T65" fmla="*/ 310 h 314"/>
                <a:gd name="T66" fmla="*/ 152 w 278"/>
                <a:gd name="T67" fmla="*/ 314 h 314"/>
                <a:gd name="T68" fmla="*/ 136 w 278"/>
                <a:gd name="T69" fmla="*/ 314 h 314"/>
                <a:gd name="T70" fmla="*/ 0 w 278"/>
                <a:gd name="T71" fmla="*/ 314 h 314"/>
                <a:gd name="T72" fmla="*/ 0 w 278"/>
                <a:gd name="T73" fmla="*/ 0 h 314"/>
                <a:gd name="T74" fmla="*/ 68 w 278"/>
                <a:gd name="T75" fmla="*/ 256 h 314"/>
                <a:gd name="T76" fmla="*/ 130 w 278"/>
                <a:gd name="T77" fmla="*/ 256 h 314"/>
                <a:gd name="T78" fmla="*/ 130 w 278"/>
                <a:gd name="T79" fmla="*/ 256 h 314"/>
                <a:gd name="T80" fmla="*/ 146 w 278"/>
                <a:gd name="T81" fmla="*/ 254 h 314"/>
                <a:gd name="T82" fmla="*/ 160 w 278"/>
                <a:gd name="T83" fmla="*/ 252 h 314"/>
                <a:gd name="T84" fmla="*/ 172 w 278"/>
                <a:gd name="T85" fmla="*/ 244 h 314"/>
                <a:gd name="T86" fmla="*/ 184 w 278"/>
                <a:gd name="T87" fmla="*/ 236 h 314"/>
                <a:gd name="T88" fmla="*/ 194 w 278"/>
                <a:gd name="T89" fmla="*/ 222 h 314"/>
                <a:gd name="T90" fmla="*/ 202 w 278"/>
                <a:gd name="T91" fmla="*/ 206 h 314"/>
                <a:gd name="T92" fmla="*/ 206 w 278"/>
                <a:gd name="T93" fmla="*/ 186 h 314"/>
                <a:gd name="T94" fmla="*/ 208 w 278"/>
                <a:gd name="T95" fmla="*/ 162 h 314"/>
                <a:gd name="T96" fmla="*/ 208 w 278"/>
                <a:gd name="T97" fmla="*/ 162 h 314"/>
                <a:gd name="T98" fmla="*/ 208 w 278"/>
                <a:gd name="T99" fmla="*/ 140 h 314"/>
                <a:gd name="T100" fmla="*/ 204 w 278"/>
                <a:gd name="T101" fmla="*/ 120 h 314"/>
                <a:gd name="T102" fmla="*/ 198 w 278"/>
                <a:gd name="T103" fmla="*/ 102 h 314"/>
                <a:gd name="T104" fmla="*/ 190 w 278"/>
                <a:gd name="T105" fmla="*/ 86 h 314"/>
                <a:gd name="T106" fmla="*/ 176 w 278"/>
                <a:gd name="T107" fmla="*/ 74 h 314"/>
                <a:gd name="T108" fmla="*/ 162 w 278"/>
                <a:gd name="T109" fmla="*/ 66 h 314"/>
                <a:gd name="T110" fmla="*/ 142 w 278"/>
                <a:gd name="T111" fmla="*/ 60 h 314"/>
                <a:gd name="T112" fmla="*/ 118 w 278"/>
                <a:gd name="T113" fmla="*/ 58 h 314"/>
                <a:gd name="T114" fmla="*/ 68 w 278"/>
                <a:gd name="T115" fmla="*/ 58 h 314"/>
                <a:gd name="T116" fmla="*/ 68 w 278"/>
                <a:gd name="T117" fmla="*/ 25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8" h="314">
                  <a:moveTo>
                    <a:pt x="0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50" y="2"/>
                  </a:lnTo>
                  <a:lnTo>
                    <a:pt x="164" y="2"/>
                  </a:lnTo>
                  <a:lnTo>
                    <a:pt x="178" y="6"/>
                  </a:lnTo>
                  <a:lnTo>
                    <a:pt x="192" y="10"/>
                  </a:lnTo>
                  <a:lnTo>
                    <a:pt x="204" y="16"/>
                  </a:lnTo>
                  <a:lnTo>
                    <a:pt x="216" y="22"/>
                  </a:lnTo>
                  <a:lnTo>
                    <a:pt x="226" y="30"/>
                  </a:lnTo>
                  <a:lnTo>
                    <a:pt x="236" y="38"/>
                  </a:lnTo>
                  <a:lnTo>
                    <a:pt x="246" y="50"/>
                  </a:lnTo>
                  <a:lnTo>
                    <a:pt x="254" y="60"/>
                  </a:lnTo>
                  <a:lnTo>
                    <a:pt x="262" y="74"/>
                  </a:lnTo>
                  <a:lnTo>
                    <a:pt x="266" y="88"/>
                  </a:lnTo>
                  <a:lnTo>
                    <a:pt x="272" y="102"/>
                  </a:lnTo>
                  <a:lnTo>
                    <a:pt x="274" y="118"/>
                  </a:lnTo>
                  <a:lnTo>
                    <a:pt x="276" y="136"/>
                  </a:lnTo>
                  <a:lnTo>
                    <a:pt x="278" y="156"/>
                  </a:lnTo>
                  <a:lnTo>
                    <a:pt x="278" y="156"/>
                  </a:lnTo>
                  <a:lnTo>
                    <a:pt x="276" y="188"/>
                  </a:lnTo>
                  <a:lnTo>
                    <a:pt x="272" y="204"/>
                  </a:lnTo>
                  <a:lnTo>
                    <a:pt x="268" y="218"/>
                  </a:lnTo>
                  <a:lnTo>
                    <a:pt x="264" y="232"/>
                  </a:lnTo>
                  <a:lnTo>
                    <a:pt x="258" y="246"/>
                  </a:lnTo>
                  <a:lnTo>
                    <a:pt x="250" y="258"/>
                  </a:lnTo>
                  <a:lnTo>
                    <a:pt x="242" y="268"/>
                  </a:lnTo>
                  <a:lnTo>
                    <a:pt x="232" y="278"/>
                  </a:lnTo>
                  <a:lnTo>
                    <a:pt x="222" y="288"/>
                  </a:lnTo>
                  <a:lnTo>
                    <a:pt x="210" y="296"/>
                  </a:lnTo>
                  <a:lnTo>
                    <a:pt x="198" y="302"/>
                  </a:lnTo>
                  <a:lnTo>
                    <a:pt x="184" y="308"/>
                  </a:lnTo>
                  <a:lnTo>
                    <a:pt x="168" y="310"/>
                  </a:lnTo>
                  <a:lnTo>
                    <a:pt x="152" y="314"/>
                  </a:lnTo>
                  <a:lnTo>
                    <a:pt x="136" y="314"/>
                  </a:lnTo>
                  <a:lnTo>
                    <a:pt x="0" y="314"/>
                  </a:lnTo>
                  <a:lnTo>
                    <a:pt x="0" y="0"/>
                  </a:lnTo>
                  <a:close/>
                  <a:moveTo>
                    <a:pt x="68" y="256"/>
                  </a:moveTo>
                  <a:lnTo>
                    <a:pt x="130" y="256"/>
                  </a:lnTo>
                  <a:lnTo>
                    <a:pt x="130" y="256"/>
                  </a:lnTo>
                  <a:lnTo>
                    <a:pt x="146" y="254"/>
                  </a:lnTo>
                  <a:lnTo>
                    <a:pt x="160" y="252"/>
                  </a:lnTo>
                  <a:lnTo>
                    <a:pt x="172" y="244"/>
                  </a:lnTo>
                  <a:lnTo>
                    <a:pt x="184" y="236"/>
                  </a:lnTo>
                  <a:lnTo>
                    <a:pt x="194" y="222"/>
                  </a:lnTo>
                  <a:lnTo>
                    <a:pt x="202" y="206"/>
                  </a:lnTo>
                  <a:lnTo>
                    <a:pt x="206" y="186"/>
                  </a:lnTo>
                  <a:lnTo>
                    <a:pt x="208" y="162"/>
                  </a:lnTo>
                  <a:lnTo>
                    <a:pt x="208" y="162"/>
                  </a:lnTo>
                  <a:lnTo>
                    <a:pt x="208" y="140"/>
                  </a:lnTo>
                  <a:lnTo>
                    <a:pt x="204" y="120"/>
                  </a:lnTo>
                  <a:lnTo>
                    <a:pt x="198" y="102"/>
                  </a:lnTo>
                  <a:lnTo>
                    <a:pt x="190" y="86"/>
                  </a:lnTo>
                  <a:lnTo>
                    <a:pt x="176" y="74"/>
                  </a:lnTo>
                  <a:lnTo>
                    <a:pt x="162" y="66"/>
                  </a:lnTo>
                  <a:lnTo>
                    <a:pt x="142" y="60"/>
                  </a:lnTo>
                  <a:lnTo>
                    <a:pt x="118" y="58"/>
                  </a:lnTo>
                  <a:lnTo>
                    <a:pt x="68" y="58"/>
                  </a:lnTo>
                  <a:lnTo>
                    <a:pt x="68" y="25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3910013" y="5226050"/>
              <a:ext cx="361950" cy="381000"/>
            </a:xfrm>
            <a:custGeom>
              <a:avLst/>
              <a:gdLst>
                <a:gd name="T0" fmla="*/ 64 w 228"/>
                <a:gd name="T1" fmla="*/ 136 h 240"/>
                <a:gd name="T2" fmla="*/ 68 w 228"/>
                <a:gd name="T3" fmla="*/ 162 h 240"/>
                <a:gd name="T4" fmla="*/ 78 w 228"/>
                <a:gd name="T5" fmla="*/ 180 h 240"/>
                <a:gd name="T6" fmla="*/ 96 w 228"/>
                <a:gd name="T7" fmla="*/ 190 h 240"/>
                <a:gd name="T8" fmla="*/ 120 w 228"/>
                <a:gd name="T9" fmla="*/ 194 h 240"/>
                <a:gd name="T10" fmla="*/ 128 w 228"/>
                <a:gd name="T11" fmla="*/ 192 h 240"/>
                <a:gd name="T12" fmla="*/ 152 w 228"/>
                <a:gd name="T13" fmla="*/ 184 h 240"/>
                <a:gd name="T14" fmla="*/ 166 w 228"/>
                <a:gd name="T15" fmla="*/ 170 h 240"/>
                <a:gd name="T16" fmla="*/ 224 w 228"/>
                <a:gd name="T17" fmla="*/ 164 h 240"/>
                <a:gd name="T18" fmla="*/ 216 w 228"/>
                <a:gd name="T19" fmla="*/ 182 h 240"/>
                <a:gd name="T20" fmla="*/ 196 w 228"/>
                <a:gd name="T21" fmla="*/ 212 h 240"/>
                <a:gd name="T22" fmla="*/ 168 w 228"/>
                <a:gd name="T23" fmla="*/ 230 h 240"/>
                <a:gd name="T24" fmla="*/ 136 w 228"/>
                <a:gd name="T25" fmla="*/ 240 h 240"/>
                <a:gd name="T26" fmla="*/ 116 w 228"/>
                <a:gd name="T27" fmla="*/ 240 h 240"/>
                <a:gd name="T28" fmla="*/ 68 w 228"/>
                <a:gd name="T29" fmla="*/ 232 h 240"/>
                <a:gd name="T30" fmla="*/ 48 w 228"/>
                <a:gd name="T31" fmla="*/ 220 h 240"/>
                <a:gd name="T32" fmla="*/ 18 w 228"/>
                <a:gd name="T33" fmla="*/ 190 h 240"/>
                <a:gd name="T34" fmla="*/ 2 w 228"/>
                <a:gd name="T35" fmla="*/ 146 h 240"/>
                <a:gd name="T36" fmla="*/ 0 w 228"/>
                <a:gd name="T37" fmla="*/ 120 h 240"/>
                <a:gd name="T38" fmla="*/ 10 w 228"/>
                <a:gd name="T39" fmla="*/ 74 h 240"/>
                <a:gd name="T40" fmla="*/ 34 w 228"/>
                <a:gd name="T41" fmla="*/ 36 h 240"/>
                <a:gd name="T42" fmla="*/ 70 w 228"/>
                <a:gd name="T43" fmla="*/ 10 h 240"/>
                <a:gd name="T44" fmla="*/ 92 w 228"/>
                <a:gd name="T45" fmla="*/ 4 h 240"/>
                <a:gd name="T46" fmla="*/ 116 w 228"/>
                <a:gd name="T47" fmla="*/ 0 h 240"/>
                <a:gd name="T48" fmla="*/ 130 w 228"/>
                <a:gd name="T49" fmla="*/ 2 h 240"/>
                <a:gd name="T50" fmla="*/ 156 w 228"/>
                <a:gd name="T51" fmla="*/ 8 h 240"/>
                <a:gd name="T52" fmla="*/ 178 w 228"/>
                <a:gd name="T53" fmla="*/ 18 h 240"/>
                <a:gd name="T54" fmla="*/ 196 w 228"/>
                <a:gd name="T55" fmla="*/ 34 h 240"/>
                <a:gd name="T56" fmla="*/ 210 w 228"/>
                <a:gd name="T57" fmla="*/ 52 h 240"/>
                <a:gd name="T58" fmla="*/ 222 w 228"/>
                <a:gd name="T59" fmla="*/ 86 h 240"/>
                <a:gd name="T60" fmla="*/ 228 w 228"/>
                <a:gd name="T61" fmla="*/ 136 h 240"/>
                <a:gd name="T62" fmla="*/ 164 w 228"/>
                <a:gd name="T63" fmla="*/ 96 h 240"/>
                <a:gd name="T64" fmla="*/ 162 w 228"/>
                <a:gd name="T65" fmla="*/ 84 h 240"/>
                <a:gd name="T66" fmla="*/ 154 w 228"/>
                <a:gd name="T67" fmla="*/ 66 h 240"/>
                <a:gd name="T68" fmla="*/ 142 w 228"/>
                <a:gd name="T69" fmla="*/ 54 h 240"/>
                <a:gd name="T70" fmla="*/ 126 w 228"/>
                <a:gd name="T71" fmla="*/ 48 h 240"/>
                <a:gd name="T72" fmla="*/ 116 w 228"/>
                <a:gd name="T73" fmla="*/ 48 h 240"/>
                <a:gd name="T74" fmla="*/ 90 w 228"/>
                <a:gd name="T75" fmla="*/ 52 h 240"/>
                <a:gd name="T76" fmla="*/ 74 w 228"/>
                <a:gd name="T77" fmla="*/ 66 h 240"/>
                <a:gd name="T78" fmla="*/ 66 w 228"/>
                <a:gd name="T79" fmla="*/ 82 h 240"/>
                <a:gd name="T80" fmla="*/ 164 w 228"/>
                <a:gd name="T81" fmla="*/ 9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8" h="240">
                  <a:moveTo>
                    <a:pt x="64" y="136"/>
                  </a:moveTo>
                  <a:lnTo>
                    <a:pt x="64" y="136"/>
                  </a:lnTo>
                  <a:lnTo>
                    <a:pt x="64" y="150"/>
                  </a:lnTo>
                  <a:lnTo>
                    <a:pt x="68" y="162"/>
                  </a:lnTo>
                  <a:lnTo>
                    <a:pt x="72" y="172"/>
                  </a:lnTo>
                  <a:lnTo>
                    <a:pt x="78" y="180"/>
                  </a:lnTo>
                  <a:lnTo>
                    <a:pt x="86" y="186"/>
                  </a:lnTo>
                  <a:lnTo>
                    <a:pt x="96" y="190"/>
                  </a:lnTo>
                  <a:lnTo>
                    <a:pt x="106" y="192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8" y="192"/>
                  </a:lnTo>
                  <a:lnTo>
                    <a:pt x="136" y="190"/>
                  </a:lnTo>
                  <a:lnTo>
                    <a:pt x="152" y="184"/>
                  </a:lnTo>
                  <a:lnTo>
                    <a:pt x="162" y="174"/>
                  </a:lnTo>
                  <a:lnTo>
                    <a:pt x="166" y="170"/>
                  </a:lnTo>
                  <a:lnTo>
                    <a:pt x="168" y="164"/>
                  </a:lnTo>
                  <a:lnTo>
                    <a:pt x="224" y="164"/>
                  </a:lnTo>
                  <a:lnTo>
                    <a:pt x="224" y="164"/>
                  </a:lnTo>
                  <a:lnTo>
                    <a:pt x="216" y="182"/>
                  </a:lnTo>
                  <a:lnTo>
                    <a:pt x="206" y="198"/>
                  </a:lnTo>
                  <a:lnTo>
                    <a:pt x="196" y="212"/>
                  </a:lnTo>
                  <a:lnTo>
                    <a:pt x="182" y="222"/>
                  </a:lnTo>
                  <a:lnTo>
                    <a:pt x="168" y="230"/>
                  </a:lnTo>
                  <a:lnTo>
                    <a:pt x="152" y="236"/>
                  </a:lnTo>
                  <a:lnTo>
                    <a:pt x="136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2" y="238"/>
                  </a:lnTo>
                  <a:lnTo>
                    <a:pt x="68" y="232"/>
                  </a:lnTo>
                  <a:lnTo>
                    <a:pt x="58" y="226"/>
                  </a:lnTo>
                  <a:lnTo>
                    <a:pt x="48" y="220"/>
                  </a:lnTo>
                  <a:lnTo>
                    <a:pt x="32" y="206"/>
                  </a:lnTo>
                  <a:lnTo>
                    <a:pt x="18" y="190"/>
                  </a:lnTo>
                  <a:lnTo>
                    <a:pt x="8" y="170"/>
                  </a:lnTo>
                  <a:lnTo>
                    <a:pt x="2" y="14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96"/>
                  </a:lnTo>
                  <a:lnTo>
                    <a:pt x="10" y="74"/>
                  </a:lnTo>
                  <a:lnTo>
                    <a:pt x="20" y="52"/>
                  </a:lnTo>
                  <a:lnTo>
                    <a:pt x="34" y="36"/>
                  </a:lnTo>
                  <a:lnTo>
                    <a:pt x="50" y="20"/>
                  </a:lnTo>
                  <a:lnTo>
                    <a:pt x="70" y="10"/>
                  </a:lnTo>
                  <a:lnTo>
                    <a:pt x="80" y="6"/>
                  </a:lnTo>
                  <a:lnTo>
                    <a:pt x="92" y="4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0" y="2"/>
                  </a:lnTo>
                  <a:lnTo>
                    <a:pt x="144" y="4"/>
                  </a:lnTo>
                  <a:lnTo>
                    <a:pt x="156" y="8"/>
                  </a:lnTo>
                  <a:lnTo>
                    <a:pt x="168" y="12"/>
                  </a:lnTo>
                  <a:lnTo>
                    <a:pt x="178" y="18"/>
                  </a:lnTo>
                  <a:lnTo>
                    <a:pt x="186" y="26"/>
                  </a:lnTo>
                  <a:lnTo>
                    <a:pt x="196" y="34"/>
                  </a:lnTo>
                  <a:lnTo>
                    <a:pt x="202" y="42"/>
                  </a:lnTo>
                  <a:lnTo>
                    <a:pt x="210" y="52"/>
                  </a:lnTo>
                  <a:lnTo>
                    <a:pt x="214" y="62"/>
                  </a:lnTo>
                  <a:lnTo>
                    <a:pt x="222" y="86"/>
                  </a:lnTo>
                  <a:lnTo>
                    <a:pt x="226" y="110"/>
                  </a:lnTo>
                  <a:lnTo>
                    <a:pt x="228" y="136"/>
                  </a:lnTo>
                  <a:lnTo>
                    <a:pt x="64" y="136"/>
                  </a:lnTo>
                  <a:close/>
                  <a:moveTo>
                    <a:pt x="164" y="96"/>
                  </a:moveTo>
                  <a:lnTo>
                    <a:pt x="164" y="96"/>
                  </a:lnTo>
                  <a:lnTo>
                    <a:pt x="162" y="84"/>
                  </a:lnTo>
                  <a:lnTo>
                    <a:pt x="158" y="76"/>
                  </a:lnTo>
                  <a:lnTo>
                    <a:pt x="154" y="66"/>
                  </a:lnTo>
                  <a:lnTo>
                    <a:pt x="150" y="60"/>
                  </a:lnTo>
                  <a:lnTo>
                    <a:pt x="142" y="54"/>
                  </a:lnTo>
                  <a:lnTo>
                    <a:pt x="134" y="50"/>
                  </a:lnTo>
                  <a:lnTo>
                    <a:pt x="12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02" y="50"/>
                  </a:lnTo>
                  <a:lnTo>
                    <a:pt x="90" y="52"/>
                  </a:lnTo>
                  <a:lnTo>
                    <a:pt x="82" y="58"/>
                  </a:lnTo>
                  <a:lnTo>
                    <a:pt x="74" y="66"/>
                  </a:lnTo>
                  <a:lnTo>
                    <a:pt x="70" y="74"/>
                  </a:lnTo>
                  <a:lnTo>
                    <a:pt x="66" y="82"/>
                  </a:lnTo>
                  <a:lnTo>
                    <a:pt x="64" y="96"/>
                  </a:lnTo>
                  <a:lnTo>
                    <a:pt x="164" y="9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4313238" y="5099050"/>
              <a:ext cx="101600" cy="498475"/>
            </a:xfrm>
            <a:prstGeom prst="rect">
              <a:avLst/>
            </a:pr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4478338" y="5099050"/>
              <a:ext cx="98425" cy="498475"/>
            </a:xfrm>
            <a:custGeom>
              <a:avLst/>
              <a:gdLst>
                <a:gd name="T0" fmla="*/ 62 w 62"/>
                <a:gd name="T1" fmla="*/ 52 h 314"/>
                <a:gd name="T2" fmla="*/ 0 w 62"/>
                <a:gd name="T3" fmla="*/ 52 h 314"/>
                <a:gd name="T4" fmla="*/ 0 w 62"/>
                <a:gd name="T5" fmla="*/ 0 h 314"/>
                <a:gd name="T6" fmla="*/ 62 w 62"/>
                <a:gd name="T7" fmla="*/ 0 h 314"/>
                <a:gd name="T8" fmla="*/ 62 w 62"/>
                <a:gd name="T9" fmla="*/ 52 h 314"/>
                <a:gd name="T10" fmla="*/ 0 w 62"/>
                <a:gd name="T11" fmla="*/ 86 h 314"/>
                <a:gd name="T12" fmla="*/ 62 w 62"/>
                <a:gd name="T13" fmla="*/ 86 h 314"/>
                <a:gd name="T14" fmla="*/ 62 w 62"/>
                <a:gd name="T15" fmla="*/ 314 h 314"/>
                <a:gd name="T16" fmla="*/ 0 w 62"/>
                <a:gd name="T17" fmla="*/ 314 h 314"/>
                <a:gd name="T18" fmla="*/ 0 w 62"/>
                <a:gd name="T19" fmla="*/ 8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14">
                  <a:moveTo>
                    <a:pt x="62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62" y="0"/>
                  </a:lnTo>
                  <a:lnTo>
                    <a:pt x="62" y="52"/>
                  </a:lnTo>
                  <a:close/>
                  <a:moveTo>
                    <a:pt x="0" y="86"/>
                  </a:moveTo>
                  <a:lnTo>
                    <a:pt x="62" y="86"/>
                  </a:lnTo>
                  <a:lnTo>
                    <a:pt x="62" y="314"/>
                  </a:lnTo>
                  <a:lnTo>
                    <a:pt x="0" y="31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4602163" y="5235575"/>
              <a:ext cx="355600" cy="361950"/>
            </a:xfrm>
            <a:custGeom>
              <a:avLst/>
              <a:gdLst>
                <a:gd name="T0" fmla="*/ 148 w 224"/>
                <a:gd name="T1" fmla="*/ 228 h 228"/>
                <a:gd name="T2" fmla="*/ 78 w 224"/>
                <a:gd name="T3" fmla="*/ 228 h 228"/>
                <a:gd name="T4" fmla="*/ 0 w 224"/>
                <a:gd name="T5" fmla="*/ 0 h 228"/>
                <a:gd name="T6" fmla="*/ 66 w 224"/>
                <a:gd name="T7" fmla="*/ 0 h 228"/>
                <a:gd name="T8" fmla="*/ 114 w 224"/>
                <a:gd name="T9" fmla="*/ 156 h 228"/>
                <a:gd name="T10" fmla="*/ 114 w 224"/>
                <a:gd name="T11" fmla="*/ 156 h 228"/>
                <a:gd name="T12" fmla="*/ 162 w 224"/>
                <a:gd name="T13" fmla="*/ 0 h 228"/>
                <a:gd name="T14" fmla="*/ 224 w 224"/>
                <a:gd name="T15" fmla="*/ 0 h 228"/>
                <a:gd name="T16" fmla="*/ 148 w 224"/>
                <a:gd name="T17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28">
                  <a:moveTo>
                    <a:pt x="148" y="228"/>
                  </a:moveTo>
                  <a:lnTo>
                    <a:pt x="78" y="22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62" y="0"/>
                  </a:lnTo>
                  <a:lnTo>
                    <a:pt x="224" y="0"/>
                  </a:lnTo>
                  <a:lnTo>
                    <a:pt x="148" y="228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4964113" y="5226050"/>
              <a:ext cx="358775" cy="381000"/>
            </a:xfrm>
            <a:custGeom>
              <a:avLst/>
              <a:gdLst>
                <a:gd name="T0" fmla="*/ 62 w 226"/>
                <a:gd name="T1" fmla="*/ 136 h 240"/>
                <a:gd name="T2" fmla="*/ 68 w 226"/>
                <a:gd name="T3" fmla="*/ 162 h 240"/>
                <a:gd name="T4" fmla="*/ 78 w 226"/>
                <a:gd name="T5" fmla="*/ 180 h 240"/>
                <a:gd name="T6" fmla="*/ 96 w 226"/>
                <a:gd name="T7" fmla="*/ 190 h 240"/>
                <a:gd name="T8" fmla="*/ 118 w 226"/>
                <a:gd name="T9" fmla="*/ 194 h 240"/>
                <a:gd name="T10" fmla="*/ 128 w 226"/>
                <a:gd name="T11" fmla="*/ 192 h 240"/>
                <a:gd name="T12" fmla="*/ 150 w 226"/>
                <a:gd name="T13" fmla="*/ 184 h 240"/>
                <a:gd name="T14" fmla="*/ 166 w 226"/>
                <a:gd name="T15" fmla="*/ 170 h 240"/>
                <a:gd name="T16" fmla="*/ 222 w 226"/>
                <a:gd name="T17" fmla="*/ 164 h 240"/>
                <a:gd name="T18" fmla="*/ 214 w 226"/>
                <a:gd name="T19" fmla="*/ 182 h 240"/>
                <a:gd name="T20" fmla="*/ 194 w 226"/>
                <a:gd name="T21" fmla="*/ 212 h 240"/>
                <a:gd name="T22" fmla="*/ 168 w 226"/>
                <a:gd name="T23" fmla="*/ 230 h 240"/>
                <a:gd name="T24" fmla="*/ 134 w 226"/>
                <a:gd name="T25" fmla="*/ 240 h 240"/>
                <a:gd name="T26" fmla="*/ 116 w 226"/>
                <a:gd name="T27" fmla="*/ 240 h 240"/>
                <a:gd name="T28" fmla="*/ 68 w 226"/>
                <a:gd name="T29" fmla="*/ 232 h 240"/>
                <a:gd name="T30" fmla="*/ 48 w 226"/>
                <a:gd name="T31" fmla="*/ 220 h 240"/>
                <a:gd name="T32" fmla="*/ 18 w 226"/>
                <a:gd name="T33" fmla="*/ 190 h 240"/>
                <a:gd name="T34" fmla="*/ 2 w 226"/>
                <a:gd name="T35" fmla="*/ 146 h 240"/>
                <a:gd name="T36" fmla="*/ 0 w 226"/>
                <a:gd name="T37" fmla="*/ 120 h 240"/>
                <a:gd name="T38" fmla="*/ 8 w 226"/>
                <a:gd name="T39" fmla="*/ 74 h 240"/>
                <a:gd name="T40" fmla="*/ 32 w 226"/>
                <a:gd name="T41" fmla="*/ 36 h 240"/>
                <a:gd name="T42" fmla="*/ 68 w 226"/>
                <a:gd name="T43" fmla="*/ 10 h 240"/>
                <a:gd name="T44" fmla="*/ 92 w 226"/>
                <a:gd name="T45" fmla="*/ 4 h 240"/>
                <a:gd name="T46" fmla="*/ 116 w 226"/>
                <a:gd name="T47" fmla="*/ 0 h 240"/>
                <a:gd name="T48" fmla="*/ 130 w 226"/>
                <a:gd name="T49" fmla="*/ 2 h 240"/>
                <a:gd name="T50" fmla="*/ 156 w 226"/>
                <a:gd name="T51" fmla="*/ 8 h 240"/>
                <a:gd name="T52" fmla="*/ 176 w 226"/>
                <a:gd name="T53" fmla="*/ 18 h 240"/>
                <a:gd name="T54" fmla="*/ 194 w 226"/>
                <a:gd name="T55" fmla="*/ 34 h 240"/>
                <a:gd name="T56" fmla="*/ 208 w 226"/>
                <a:gd name="T57" fmla="*/ 52 h 240"/>
                <a:gd name="T58" fmla="*/ 222 w 226"/>
                <a:gd name="T59" fmla="*/ 86 h 240"/>
                <a:gd name="T60" fmla="*/ 226 w 226"/>
                <a:gd name="T61" fmla="*/ 136 h 240"/>
                <a:gd name="T62" fmla="*/ 164 w 226"/>
                <a:gd name="T63" fmla="*/ 96 h 240"/>
                <a:gd name="T64" fmla="*/ 162 w 226"/>
                <a:gd name="T65" fmla="*/ 84 h 240"/>
                <a:gd name="T66" fmla="*/ 154 w 226"/>
                <a:gd name="T67" fmla="*/ 66 h 240"/>
                <a:gd name="T68" fmla="*/ 142 w 226"/>
                <a:gd name="T69" fmla="*/ 54 h 240"/>
                <a:gd name="T70" fmla="*/ 124 w 226"/>
                <a:gd name="T71" fmla="*/ 48 h 240"/>
                <a:gd name="T72" fmla="*/ 114 w 226"/>
                <a:gd name="T73" fmla="*/ 48 h 240"/>
                <a:gd name="T74" fmla="*/ 90 w 226"/>
                <a:gd name="T75" fmla="*/ 52 h 240"/>
                <a:gd name="T76" fmla="*/ 74 w 226"/>
                <a:gd name="T77" fmla="*/ 66 h 240"/>
                <a:gd name="T78" fmla="*/ 66 w 226"/>
                <a:gd name="T79" fmla="*/ 82 h 240"/>
                <a:gd name="T80" fmla="*/ 164 w 226"/>
                <a:gd name="T81" fmla="*/ 9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6" h="240">
                  <a:moveTo>
                    <a:pt x="62" y="136"/>
                  </a:moveTo>
                  <a:lnTo>
                    <a:pt x="62" y="136"/>
                  </a:lnTo>
                  <a:lnTo>
                    <a:pt x="64" y="150"/>
                  </a:lnTo>
                  <a:lnTo>
                    <a:pt x="68" y="162"/>
                  </a:lnTo>
                  <a:lnTo>
                    <a:pt x="72" y="172"/>
                  </a:lnTo>
                  <a:lnTo>
                    <a:pt x="78" y="180"/>
                  </a:lnTo>
                  <a:lnTo>
                    <a:pt x="86" y="186"/>
                  </a:lnTo>
                  <a:lnTo>
                    <a:pt x="96" y="190"/>
                  </a:lnTo>
                  <a:lnTo>
                    <a:pt x="106" y="192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28" y="192"/>
                  </a:lnTo>
                  <a:lnTo>
                    <a:pt x="136" y="190"/>
                  </a:lnTo>
                  <a:lnTo>
                    <a:pt x="150" y="184"/>
                  </a:lnTo>
                  <a:lnTo>
                    <a:pt x="162" y="174"/>
                  </a:lnTo>
                  <a:lnTo>
                    <a:pt x="166" y="170"/>
                  </a:lnTo>
                  <a:lnTo>
                    <a:pt x="168" y="164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14" y="182"/>
                  </a:lnTo>
                  <a:lnTo>
                    <a:pt x="206" y="198"/>
                  </a:lnTo>
                  <a:lnTo>
                    <a:pt x="194" y="212"/>
                  </a:lnTo>
                  <a:lnTo>
                    <a:pt x="182" y="222"/>
                  </a:lnTo>
                  <a:lnTo>
                    <a:pt x="168" y="230"/>
                  </a:lnTo>
                  <a:lnTo>
                    <a:pt x="152" y="236"/>
                  </a:lnTo>
                  <a:lnTo>
                    <a:pt x="134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0" y="238"/>
                  </a:lnTo>
                  <a:lnTo>
                    <a:pt x="68" y="232"/>
                  </a:lnTo>
                  <a:lnTo>
                    <a:pt x="58" y="226"/>
                  </a:lnTo>
                  <a:lnTo>
                    <a:pt x="48" y="220"/>
                  </a:lnTo>
                  <a:lnTo>
                    <a:pt x="32" y="206"/>
                  </a:lnTo>
                  <a:lnTo>
                    <a:pt x="18" y="190"/>
                  </a:lnTo>
                  <a:lnTo>
                    <a:pt x="8" y="170"/>
                  </a:lnTo>
                  <a:lnTo>
                    <a:pt x="2" y="14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2" y="96"/>
                  </a:lnTo>
                  <a:lnTo>
                    <a:pt x="8" y="74"/>
                  </a:lnTo>
                  <a:lnTo>
                    <a:pt x="18" y="52"/>
                  </a:lnTo>
                  <a:lnTo>
                    <a:pt x="32" y="36"/>
                  </a:lnTo>
                  <a:lnTo>
                    <a:pt x="50" y="20"/>
                  </a:lnTo>
                  <a:lnTo>
                    <a:pt x="68" y="10"/>
                  </a:lnTo>
                  <a:lnTo>
                    <a:pt x="80" y="6"/>
                  </a:lnTo>
                  <a:lnTo>
                    <a:pt x="92" y="4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0" y="2"/>
                  </a:lnTo>
                  <a:lnTo>
                    <a:pt x="144" y="4"/>
                  </a:lnTo>
                  <a:lnTo>
                    <a:pt x="156" y="8"/>
                  </a:lnTo>
                  <a:lnTo>
                    <a:pt x="166" y="12"/>
                  </a:lnTo>
                  <a:lnTo>
                    <a:pt x="176" y="18"/>
                  </a:lnTo>
                  <a:lnTo>
                    <a:pt x="186" y="26"/>
                  </a:lnTo>
                  <a:lnTo>
                    <a:pt x="194" y="34"/>
                  </a:lnTo>
                  <a:lnTo>
                    <a:pt x="202" y="42"/>
                  </a:lnTo>
                  <a:lnTo>
                    <a:pt x="208" y="52"/>
                  </a:lnTo>
                  <a:lnTo>
                    <a:pt x="214" y="62"/>
                  </a:lnTo>
                  <a:lnTo>
                    <a:pt x="222" y="86"/>
                  </a:lnTo>
                  <a:lnTo>
                    <a:pt x="226" y="110"/>
                  </a:lnTo>
                  <a:lnTo>
                    <a:pt x="226" y="136"/>
                  </a:lnTo>
                  <a:lnTo>
                    <a:pt x="62" y="136"/>
                  </a:lnTo>
                  <a:close/>
                  <a:moveTo>
                    <a:pt x="164" y="96"/>
                  </a:moveTo>
                  <a:lnTo>
                    <a:pt x="164" y="96"/>
                  </a:lnTo>
                  <a:lnTo>
                    <a:pt x="162" y="84"/>
                  </a:lnTo>
                  <a:lnTo>
                    <a:pt x="158" y="76"/>
                  </a:lnTo>
                  <a:lnTo>
                    <a:pt x="154" y="66"/>
                  </a:lnTo>
                  <a:lnTo>
                    <a:pt x="148" y="60"/>
                  </a:lnTo>
                  <a:lnTo>
                    <a:pt x="142" y="54"/>
                  </a:lnTo>
                  <a:lnTo>
                    <a:pt x="134" y="50"/>
                  </a:lnTo>
                  <a:lnTo>
                    <a:pt x="124" y="48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00" y="50"/>
                  </a:lnTo>
                  <a:lnTo>
                    <a:pt x="90" y="52"/>
                  </a:lnTo>
                  <a:lnTo>
                    <a:pt x="80" y="58"/>
                  </a:lnTo>
                  <a:lnTo>
                    <a:pt x="74" y="66"/>
                  </a:lnTo>
                  <a:lnTo>
                    <a:pt x="68" y="74"/>
                  </a:lnTo>
                  <a:lnTo>
                    <a:pt x="66" y="82"/>
                  </a:lnTo>
                  <a:lnTo>
                    <a:pt x="62" y="96"/>
                  </a:lnTo>
                  <a:lnTo>
                    <a:pt x="164" y="9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5364163" y="5226050"/>
              <a:ext cx="231775" cy="371475"/>
            </a:xfrm>
            <a:custGeom>
              <a:avLst/>
              <a:gdLst>
                <a:gd name="T0" fmla="*/ 0 w 146"/>
                <a:gd name="T1" fmla="*/ 6 h 234"/>
                <a:gd name="T2" fmla="*/ 60 w 146"/>
                <a:gd name="T3" fmla="*/ 6 h 234"/>
                <a:gd name="T4" fmla="*/ 60 w 146"/>
                <a:gd name="T5" fmla="*/ 50 h 234"/>
                <a:gd name="T6" fmla="*/ 60 w 146"/>
                <a:gd name="T7" fmla="*/ 50 h 234"/>
                <a:gd name="T8" fmla="*/ 60 w 146"/>
                <a:gd name="T9" fmla="*/ 50 h 234"/>
                <a:gd name="T10" fmla="*/ 66 w 146"/>
                <a:gd name="T11" fmla="*/ 38 h 234"/>
                <a:gd name="T12" fmla="*/ 72 w 146"/>
                <a:gd name="T13" fmla="*/ 30 h 234"/>
                <a:gd name="T14" fmla="*/ 80 w 146"/>
                <a:gd name="T15" fmla="*/ 22 h 234"/>
                <a:gd name="T16" fmla="*/ 90 w 146"/>
                <a:gd name="T17" fmla="*/ 14 h 234"/>
                <a:gd name="T18" fmla="*/ 100 w 146"/>
                <a:gd name="T19" fmla="*/ 8 h 234"/>
                <a:gd name="T20" fmla="*/ 110 w 146"/>
                <a:gd name="T21" fmla="*/ 4 h 234"/>
                <a:gd name="T22" fmla="*/ 122 w 146"/>
                <a:gd name="T23" fmla="*/ 2 h 234"/>
                <a:gd name="T24" fmla="*/ 132 w 146"/>
                <a:gd name="T25" fmla="*/ 0 h 234"/>
                <a:gd name="T26" fmla="*/ 132 w 146"/>
                <a:gd name="T27" fmla="*/ 0 h 234"/>
                <a:gd name="T28" fmla="*/ 146 w 146"/>
                <a:gd name="T29" fmla="*/ 4 h 234"/>
                <a:gd name="T30" fmla="*/ 146 w 146"/>
                <a:gd name="T31" fmla="*/ 62 h 234"/>
                <a:gd name="T32" fmla="*/ 146 w 146"/>
                <a:gd name="T33" fmla="*/ 62 h 234"/>
                <a:gd name="T34" fmla="*/ 124 w 146"/>
                <a:gd name="T35" fmla="*/ 58 h 234"/>
                <a:gd name="T36" fmla="*/ 124 w 146"/>
                <a:gd name="T37" fmla="*/ 58 h 234"/>
                <a:gd name="T38" fmla="*/ 108 w 146"/>
                <a:gd name="T39" fmla="*/ 60 h 234"/>
                <a:gd name="T40" fmla="*/ 96 w 146"/>
                <a:gd name="T41" fmla="*/ 64 h 234"/>
                <a:gd name="T42" fmla="*/ 84 w 146"/>
                <a:gd name="T43" fmla="*/ 72 h 234"/>
                <a:gd name="T44" fmla="*/ 76 w 146"/>
                <a:gd name="T45" fmla="*/ 80 h 234"/>
                <a:gd name="T46" fmla="*/ 70 w 146"/>
                <a:gd name="T47" fmla="*/ 92 h 234"/>
                <a:gd name="T48" fmla="*/ 66 w 146"/>
                <a:gd name="T49" fmla="*/ 104 h 234"/>
                <a:gd name="T50" fmla="*/ 64 w 146"/>
                <a:gd name="T51" fmla="*/ 118 h 234"/>
                <a:gd name="T52" fmla="*/ 62 w 146"/>
                <a:gd name="T53" fmla="*/ 132 h 234"/>
                <a:gd name="T54" fmla="*/ 62 w 146"/>
                <a:gd name="T55" fmla="*/ 234 h 234"/>
                <a:gd name="T56" fmla="*/ 0 w 146"/>
                <a:gd name="T57" fmla="*/ 234 h 234"/>
                <a:gd name="T58" fmla="*/ 0 w 146"/>
                <a:gd name="T59" fmla="*/ 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234">
                  <a:moveTo>
                    <a:pt x="0" y="6"/>
                  </a:moveTo>
                  <a:lnTo>
                    <a:pt x="60" y="6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6" y="38"/>
                  </a:lnTo>
                  <a:lnTo>
                    <a:pt x="72" y="30"/>
                  </a:lnTo>
                  <a:lnTo>
                    <a:pt x="80" y="22"/>
                  </a:lnTo>
                  <a:lnTo>
                    <a:pt x="90" y="14"/>
                  </a:lnTo>
                  <a:lnTo>
                    <a:pt x="100" y="8"/>
                  </a:lnTo>
                  <a:lnTo>
                    <a:pt x="110" y="4"/>
                  </a:lnTo>
                  <a:lnTo>
                    <a:pt x="122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6" y="4"/>
                  </a:lnTo>
                  <a:lnTo>
                    <a:pt x="146" y="62"/>
                  </a:lnTo>
                  <a:lnTo>
                    <a:pt x="146" y="62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8" y="60"/>
                  </a:lnTo>
                  <a:lnTo>
                    <a:pt x="96" y="64"/>
                  </a:lnTo>
                  <a:lnTo>
                    <a:pt x="84" y="72"/>
                  </a:lnTo>
                  <a:lnTo>
                    <a:pt x="76" y="80"/>
                  </a:lnTo>
                  <a:lnTo>
                    <a:pt x="70" y="92"/>
                  </a:lnTo>
                  <a:lnTo>
                    <a:pt x="66" y="104"/>
                  </a:lnTo>
                  <a:lnTo>
                    <a:pt x="64" y="118"/>
                  </a:lnTo>
                  <a:lnTo>
                    <a:pt x="62" y="132"/>
                  </a:lnTo>
                  <a:lnTo>
                    <a:pt x="62" y="234"/>
                  </a:lnTo>
                  <a:lnTo>
                    <a:pt x="0" y="23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5576888" y="5235575"/>
              <a:ext cx="368300" cy="488950"/>
            </a:xfrm>
            <a:custGeom>
              <a:avLst/>
              <a:gdLst>
                <a:gd name="T0" fmla="*/ 138 w 232"/>
                <a:gd name="T1" fmla="*/ 256 h 308"/>
                <a:gd name="T2" fmla="*/ 138 w 232"/>
                <a:gd name="T3" fmla="*/ 256 h 308"/>
                <a:gd name="T4" fmla="*/ 132 w 232"/>
                <a:gd name="T5" fmla="*/ 270 h 308"/>
                <a:gd name="T6" fmla="*/ 126 w 232"/>
                <a:gd name="T7" fmla="*/ 280 h 308"/>
                <a:gd name="T8" fmla="*/ 118 w 232"/>
                <a:gd name="T9" fmla="*/ 288 h 308"/>
                <a:gd name="T10" fmla="*/ 110 w 232"/>
                <a:gd name="T11" fmla="*/ 296 h 308"/>
                <a:gd name="T12" fmla="*/ 100 w 232"/>
                <a:gd name="T13" fmla="*/ 302 h 308"/>
                <a:gd name="T14" fmla="*/ 88 w 232"/>
                <a:gd name="T15" fmla="*/ 306 h 308"/>
                <a:gd name="T16" fmla="*/ 74 w 232"/>
                <a:gd name="T17" fmla="*/ 308 h 308"/>
                <a:gd name="T18" fmla="*/ 60 w 232"/>
                <a:gd name="T19" fmla="*/ 308 h 308"/>
                <a:gd name="T20" fmla="*/ 60 w 232"/>
                <a:gd name="T21" fmla="*/ 308 h 308"/>
                <a:gd name="T22" fmla="*/ 22 w 232"/>
                <a:gd name="T23" fmla="*/ 306 h 308"/>
                <a:gd name="T24" fmla="*/ 22 w 232"/>
                <a:gd name="T25" fmla="*/ 254 h 308"/>
                <a:gd name="T26" fmla="*/ 22 w 232"/>
                <a:gd name="T27" fmla="*/ 254 h 308"/>
                <a:gd name="T28" fmla="*/ 40 w 232"/>
                <a:gd name="T29" fmla="*/ 256 h 308"/>
                <a:gd name="T30" fmla="*/ 58 w 232"/>
                <a:gd name="T31" fmla="*/ 256 h 308"/>
                <a:gd name="T32" fmla="*/ 58 w 232"/>
                <a:gd name="T33" fmla="*/ 256 h 308"/>
                <a:gd name="T34" fmla="*/ 66 w 232"/>
                <a:gd name="T35" fmla="*/ 254 h 308"/>
                <a:gd name="T36" fmla="*/ 72 w 232"/>
                <a:gd name="T37" fmla="*/ 252 h 308"/>
                <a:gd name="T38" fmla="*/ 76 w 232"/>
                <a:gd name="T39" fmla="*/ 246 h 308"/>
                <a:gd name="T40" fmla="*/ 80 w 232"/>
                <a:gd name="T41" fmla="*/ 242 h 308"/>
                <a:gd name="T42" fmla="*/ 82 w 232"/>
                <a:gd name="T43" fmla="*/ 234 h 308"/>
                <a:gd name="T44" fmla="*/ 82 w 232"/>
                <a:gd name="T45" fmla="*/ 228 h 308"/>
                <a:gd name="T46" fmla="*/ 82 w 232"/>
                <a:gd name="T47" fmla="*/ 220 h 308"/>
                <a:gd name="T48" fmla="*/ 80 w 232"/>
                <a:gd name="T49" fmla="*/ 214 h 308"/>
                <a:gd name="T50" fmla="*/ 0 w 232"/>
                <a:gd name="T51" fmla="*/ 0 h 308"/>
                <a:gd name="T52" fmla="*/ 66 w 232"/>
                <a:gd name="T53" fmla="*/ 0 h 308"/>
                <a:gd name="T54" fmla="*/ 118 w 232"/>
                <a:gd name="T55" fmla="*/ 156 h 308"/>
                <a:gd name="T56" fmla="*/ 118 w 232"/>
                <a:gd name="T57" fmla="*/ 156 h 308"/>
                <a:gd name="T58" fmla="*/ 168 w 232"/>
                <a:gd name="T59" fmla="*/ 0 h 308"/>
                <a:gd name="T60" fmla="*/ 232 w 232"/>
                <a:gd name="T61" fmla="*/ 0 h 308"/>
                <a:gd name="T62" fmla="*/ 138 w 232"/>
                <a:gd name="T63" fmla="*/ 256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2" h="308">
                  <a:moveTo>
                    <a:pt x="138" y="256"/>
                  </a:moveTo>
                  <a:lnTo>
                    <a:pt x="138" y="256"/>
                  </a:lnTo>
                  <a:lnTo>
                    <a:pt x="132" y="270"/>
                  </a:lnTo>
                  <a:lnTo>
                    <a:pt x="126" y="280"/>
                  </a:lnTo>
                  <a:lnTo>
                    <a:pt x="118" y="288"/>
                  </a:lnTo>
                  <a:lnTo>
                    <a:pt x="110" y="296"/>
                  </a:lnTo>
                  <a:lnTo>
                    <a:pt x="100" y="302"/>
                  </a:lnTo>
                  <a:lnTo>
                    <a:pt x="88" y="306"/>
                  </a:lnTo>
                  <a:lnTo>
                    <a:pt x="74" y="308"/>
                  </a:lnTo>
                  <a:lnTo>
                    <a:pt x="60" y="308"/>
                  </a:lnTo>
                  <a:lnTo>
                    <a:pt x="60" y="308"/>
                  </a:lnTo>
                  <a:lnTo>
                    <a:pt x="22" y="306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40" y="256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66" y="254"/>
                  </a:lnTo>
                  <a:lnTo>
                    <a:pt x="72" y="252"/>
                  </a:lnTo>
                  <a:lnTo>
                    <a:pt x="76" y="246"/>
                  </a:lnTo>
                  <a:lnTo>
                    <a:pt x="80" y="242"/>
                  </a:lnTo>
                  <a:lnTo>
                    <a:pt x="82" y="234"/>
                  </a:lnTo>
                  <a:lnTo>
                    <a:pt x="82" y="228"/>
                  </a:lnTo>
                  <a:lnTo>
                    <a:pt x="82" y="220"/>
                  </a:lnTo>
                  <a:lnTo>
                    <a:pt x="80" y="21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68" y="0"/>
                  </a:lnTo>
                  <a:lnTo>
                    <a:pt x="232" y="0"/>
                  </a:lnTo>
                  <a:lnTo>
                    <a:pt x="138" y="25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887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57756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36634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15510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94388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873265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52143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31021" algn="l" defTabSz="957756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IN" dirty="0">
                <a:latin typeface="Calibri" panose="020F0502020204030204" pitchFamily="34" charset="0"/>
              </a:endParaRPr>
            </a:p>
          </p:txBody>
        </p:sp>
        <p:grpSp>
          <p:nvGrpSpPr>
            <p:cNvPr id="4" name="Group 45"/>
            <p:cNvGrpSpPr/>
            <p:nvPr/>
          </p:nvGrpSpPr>
          <p:grpSpPr>
            <a:xfrm>
              <a:off x="2604983" y="4843954"/>
              <a:ext cx="564063" cy="564063"/>
              <a:chOff x="2601584" y="1529279"/>
              <a:chExt cx="564063" cy="564063"/>
            </a:xfrm>
          </p:grpSpPr>
          <p:sp>
            <p:nvSpPr>
              <p:cNvPr id="62" name="Rounded Rectangle 61"/>
              <p:cNvSpPr/>
              <p:nvPr/>
            </p:nvSpPr>
            <p:spPr>
              <a:xfrm>
                <a:off x="2601584" y="1529279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87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756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634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51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38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265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143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021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IN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46" name="Group 62"/>
              <p:cNvGrpSpPr/>
              <p:nvPr/>
            </p:nvGrpSpPr>
            <p:grpSpPr>
              <a:xfrm>
                <a:off x="2660093" y="1602823"/>
                <a:ext cx="431800" cy="425450"/>
                <a:chOff x="2863850" y="3182938"/>
                <a:chExt cx="431800" cy="425450"/>
              </a:xfrm>
            </p:grpSpPr>
            <p:sp>
              <p:nvSpPr>
                <p:cNvPr id="64" name="Freeform 63"/>
                <p:cNvSpPr>
                  <a:spLocks/>
                </p:cNvSpPr>
                <p:nvPr/>
              </p:nvSpPr>
              <p:spPr bwMode="auto">
                <a:xfrm>
                  <a:off x="3098800" y="3246438"/>
                  <a:ext cx="133350" cy="133350"/>
                </a:xfrm>
                <a:custGeom>
                  <a:avLst/>
                  <a:gdLst>
                    <a:gd name="T0" fmla="*/ 8 w 84"/>
                    <a:gd name="T1" fmla="*/ 84 h 84"/>
                    <a:gd name="T2" fmla="*/ 8 w 84"/>
                    <a:gd name="T3" fmla="*/ 84 h 84"/>
                    <a:gd name="T4" fmla="*/ 6 w 84"/>
                    <a:gd name="T5" fmla="*/ 82 h 84"/>
                    <a:gd name="T6" fmla="*/ 4 w 84"/>
                    <a:gd name="T7" fmla="*/ 80 h 84"/>
                    <a:gd name="T8" fmla="*/ 4 w 84"/>
                    <a:gd name="T9" fmla="*/ 80 h 84"/>
                    <a:gd name="T10" fmla="*/ 2 w 84"/>
                    <a:gd name="T11" fmla="*/ 78 h 84"/>
                    <a:gd name="T12" fmla="*/ 0 w 84"/>
                    <a:gd name="T13" fmla="*/ 76 h 84"/>
                    <a:gd name="T14" fmla="*/ 2 w 84"/>
                    <a:gd name="T15" fmla="*/ 72 h 84"/>
                    <a:gd name="T16" fmla="*/ 4 w 84"/>
                    <a:gd name="T17" fmla="*/ 70 h 84"/>
                    <a:gd name="T18" fmla="*/ 70 w 84"/>
                    <a:gd name="T19" fmla="*/ 2 h 84"/>
                    <a:gd name="T20" fmla="*/ 70 w 84"/>
                    <a:gd name="T21" fmla="*/ 2 h 84"/>
                    <a:gd name="T22" fmla="*/ 74 w 84"/>
                    <a:gd name="T23" fmla="*/ 0 h 84"/>
                    <a:gd name="T24" fmla="*/ 76 w 84"/>
                    <a:gd name="T25" fmla="*/ 0 h 84"/>
                    <a:gd name="T26" fmla="*/ 80 w 84"/>
                    <a:gd name="T27" fmla="*/ 0 h 84"/>
                    <a:gd name="T28" fmla="*/ 82 w 84"/>
                    <a:gd name="T29" fmla="*/ 2 h 84"/>
                    <a:gd name="T30" fmla="*/ 82 w 84"/>
                    <a:gd name="T31" fmla="*/ 2 h 84"/>
                    <a:gd name="T32" fmla="*/ 84 w 84"/>
                    <a:gd name="T33" fmla="*/ 4 h 84"/>
                    <a:gd name="T34" fmla="*/ 84 w 84"/>
                    <a:gd name="T35" fmla="*/ 8 h 84"/>
                    <a:gd name="T36" fmla="*/ 84 w 84"/>
                    <a:gd name="T37" fmla="*/ 10 h 84"/>
                    <a:gd name="T38" fmla="*/ 82 w 84"/>
                    <a:gd name="T39" fmla="*/ 14 h 84"/>
                    <a:gd name="T40" fmla="*/ 14 w 84"/>
                    <a:gd name="T41" fmla="*/ 80 h 84"/>
                    <a:gd name="T42" fmla="*/ 14 w 84"/>
                    <a:gd name="T43" fmla="*/ 80 h 84"/>
                    <a:gd name="T44" fmla="*/ 12 w 84"/>
                    <a:gd name="T45" fmla="*/ 82 h 84"/>
                    <a:gd name="T46" fmla="*/ 8 w 84"/>
                    <a:gd name="T47" fmla="*/ 84 h 84"/>
                    <a:gd name="T48" fmla="*/ 8 w 84"/>
                    <a:gd name="T4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4">
                      <a:moveTo>
                        <a:pt x="8" y="84"/>
                      </a:moveTo>
                      <a:lnTo>
                        <a:pt x="8" y="84"/>
                      </a:lnTo>
                      <a:lnTo>
                        <a:pt x="6" y="82"/>
                      </a:lnTo>
                      <a:lnTo>
                        <a:pt x="4" y="80"/>
                      </a:lnTo>
                      <a:lnTo>
                        <a:pt x="4" y="80"/>
                      </a:lnTo>
                      <a:lnTo>
                        <a:pt x="2" y="78"/>
                      </a:lnTo>
                      <a:lnTo>
                        <a:pt x="0" y="76"/>
                      </a:lnTo>
                      <a:lnTo>
                        <a:pt x="2" y="72"/>
                      </a:lnTo>
                      <a:lnTo>
                        <a:pt x="4" y="70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4" y="4"/>
                      </a:lnTo>
                      <a:lnTo>
                        <a:pt x="84" y="8"/>
                      </a:lnTo>
                      <a:lnTo>
                        <a:pt x="84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2" y="82"/>
                      </a:lnTo>
                      <a:lnTo>
                        <a:pt x="8" y="84"/>
                      </a:lnTo>
                      <a:lnTo>
                        <a:pt x="8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5" name="Freeform 64"/>
                <p:cNvSpPr>
                  <a:spLocks/>
                </p:cNvSpPr>
                <p:nvPr/>
              </p:nvSpPr>
              <p:spPr bwMode="auto">
                <a:xfrm>
                  <a:off x="3165475" y="318293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0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4 w 82"/>
                    <a:gd name="T13" fmla="*/ 16 h 84"/>
                    <a:gd name="T14" fmla="*/ 8 w 82"/>
                    <a:gd name="T15" fmla="*/ 18 h 84"/>
                    <a:gd name="T16" fmla="*/ 8 w 82"/>
                    <a:gd name="T17" fmla="*/ 18 h 84"/>
                    <a:gd name="T18" fmla="*/ 4 w 82"/>
                    <a:gd name="T19" fmla="*/ 16 h 84"/>
                    <a:gd name="T20" fmla="*/ 2 w 82"/>
                    <a:gd name="T21" fmla="*/ 14 h 84"/>
                    <a:gd name="T22" fmla="*/ 0 w 82"/>
                    <a:gd name="T23" fmla="*/ 12 h 84"/>
                    <a:gd name="T24" fmla="*/ 0 w 82"/>
                    <a:gd name="T25" fmla="*/ 8 h 84"/>
                    <a:gd name="T26" fmla="*/ 0 w 82"/>
                    <a:gd name="T27" fmla="*/ 8 h 84"/>
                    <a:gd name="T28" fmla="*/ 0 w 82"/>
                    <a:gd name="T29" fmla="*/ 6 h 84"/>
                    <a:gd name="T30" fmla="*/ 2 w 82"/>
                    <a:gd name="T31" fmla="*/ 4 h 84"/>
                    <a:gd name="T32" fmla="*/ 4 w 82"/>
                    <a:gd name="T33" fmla="*/ 2 h 84"/>
                    <a:gd name="T34" fmla="*/ 8 w 82"/>
                    <a:gd name="T35" fmla="*/ 0 h 84"/>
                    <a:gd name="T36" fmla="*/ 82 w 82"/>
                    <a:gd name="T37" fmla="*/ 0 h 84"/>
                    <a:gd name="T38" fmla="*/ 82 w 82"/>
                    <a:gd name="T39" fmla="*/ 76 h 84"/>
                    <a:gd name="T40" fmla="*/ 82 w 82"/>
                    <a:gd name="T41" fmla="*/ 76 h 84"/>
                    <a:gd name="T42" fmla="*/ 82 w 82"/>
                    <a:gd name="T43" fmla="*/ 80 h 84"/>
                    <a:gd name="T44" fmla="*/ 80 w 82"/>
                    <a:gd name="T45" fmla="*/ 82 h 84"/>
                    <a:gd name="T46" fmla="*/ 76 w 82"/>
                    <a:gd name="T47" fmla="*/ 84 h 84"/>
                    <a:gd name="T48" fmla="*/ 74 w 82"/>
                    <a:gd name="T49" fmla="*/ 84 h 84"/>
                    <a:gd name="T50" fmla="*/ 74 w 82"/>
                    <a:gd name="T51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0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4" y="16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4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6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6" name="Freeform 65"/>
                <p:cNvSpPr>
                  <a:spLocks/>
                </p:cNvSpPr>
                <p:nvPr/>
              </p:nvSpPr>
              <p:spPr bwMode="auto">
                <a:xfrm>
                  <a:off x="3098800" y="3468688"/>
                  <a:ext cx="133350" cy="130175"/>
                </a:xfrm>
                <a:custGeom>
                  <a:avLst/>
                  <a:gdLst>
                    <a:gd name="T0" fmla="*/ 8 w 84"/>
                    <a:gd name="T1" fmla="*/ 82 h 82"/>
                    <a:gd name="T2" fmla="*/ 8 w 84"/>
                    <a:gd name="T3" fmla="*/ 82 h 82"/>
                    <a:gd name="T4" fmla="*/ 6 w 84"/>
                    <a:gd name="T5" fmla="*/ 82 h 82"/>
                    <a:gd name="T6" fmla="*/ 4 w 84"/>
                    <a:gd name="T7" fmla="*/ 80 h 82"/>
                    <a:gd name="T8" fmla="*/ 4 w 84"/>
                    <a:gd name="T9" fmla="*/ 80 h 82"/>
                    <a:gd name="T10" fmla="*/ 2 w 84"/>
                    <a:gd name="T11" fmla="*/ 78 h 82"/>
                    <a:gd name="T12" fmla="*/ 0 w 84"/>
                    <a:gd name="T13" fmla="*/ 74 h 82"/>
                    <a:gd name="T14" fmla="*/ 2 w 84"/>
                    <a:gd name="T15" fmla="*/ 72 h 82"/>
                    <a:gd name="T16" fmla="*/ 4 w 84"/>
                    <a:gd name="T17" fmla="*/ 68 h 82"/>
                    <a:gd name="T18" fmla="*/ 70 w 84"/>
                    <a:gd name="T19" fmla="*/ 2 h 82"/>
                    <a:gd name="T20" fmla="*/ 70 w 84"/>
                    <a:gd name="T21" fmla="*/ 2 h 82"/>
                    <a:gd name="T22" fmla="*/ 74 w 84"/>
                    <a:gd name="T23" fmla="*/ 0 h 82"/>
                    <a:gd name="T24" fmla="*/ 76 w 84"/>
                    <a:gd name="T25" fmla="*/ 0 h 82"/>
                    <a:gd name="T26" fmla="*/ 80 w 84"/>
                    <a:gd name="T27" fmla="*/ 0 h 82"/>
                    <a:gd name="T28" fmla="*/ 82 w 84"/>
                    <a:gd name="T29" fmla="*/ 2 h 82"/>
                    <a:gd name="T30" fmla="*/ 82 w 84"/>
                    <a:gd name="T31" fmla="*/ 2 h 82"/>
                    <a:gd name="T32" fmla="*/ 84 w 84"/>
                    <a:gd name="T33" fmla="*/ 4 h 82"/>
                    <a:gd name="T34" fmla="*/ 84 w 84"/>
                    <a:gd name="T35" fmla="*/ 8 h 82"/>
                    <a:gd name="T36" fmla="*/ 84 w 84"/>
                    <a:gd name="T37" fmla="*/ 10 h 82"/>
                    <a:gd name="T38" fmla="*/ 82 w 84"/>
                    <a:gd name="T39" fmla="*/ 14 h 82"/>
                    <a:gd name="T40" fmla="*/ 14 w 84"/>
                    <a:gd name="T41" fmla="*/ 80 h 82"/>
                    <a:gd name="T42" fmla="*/ 14 w 84"/>
                    <a:gd name="T43" fmla="*/ 80 h 82"/>
                    <a:gd name="T44" fmla="*/ 12 w 84"/>
                    <a:gd name="T45" fmla="*/ 82 h 82"/>
                    <a:gd name="T46" fmla="*/ 8 w 84"/>
                    <a:gd name="T47" fmla="*/ 82 h 82"/>
                    <a:gd name="T48" fmla="*/ 8 w 84"/>
                    <a:gd name="T49" fmla="*/ 82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2">
                      <a:moveTo>
                        <a:pt x="8" y="82"/>
                      </a:moveTo>
                      <a:lnTo>
                        <a:pt x="8" y="82"/>
                      </a:lnTo>
                      <a:lnTo>
                        <a:pt x="6" y="82"/>
                      </a:lnTo>
                      <a:lnTo>
                        <a:pt x="4" y="80"/>
                      </a:lnTo>
                      <a:lnTo>
                        <a:pt x="4" y="80"/>
                      </a:lnTo>
                      <a:lnTo>
                        <a:pt x="2" y="78"/>
                      </a:lnTo>
                      <a:lnTo>
                        <a:pt x="0" y="74"/>
                      </a:lnTo>
                      <a:lnTo>
                        <a:pt x="2" y="72"/>
                      </a:lnTo>
                      <a:lnTo>
                        <a:pt x="4" y="68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4" y="4"/>
                      </a:lnTo>
                      <a:lnTo>
                        <a:pt x="84" y="8"/>
                      </a:lnTo>
                      <a:lnTo>
                        <a:pt x="84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2" y="82"/>
                      </a:lnTo>
                      <a:lnTo>
                        <a:pt x="8" y="82"/>
                      </a:lnTo>
                      <a:lnTo>
                        <a:pt x="8" y="8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7" name="Freeform 66"/>
                <p:cNvSpPr>
                  <a:spLocks/>
                </p:cNvSpPr>
                <p:nvPr/>
              </p:nvSpPr>
              <p:spPr bwMode="auto">
                <a:xfrm>
                  <a:off x="3165475" y="340518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0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4 w 82"/>
                    <a:gd name="T13" fmla="*/ 16 h 84"/>
                    <a:gd name="T14" fmla="*/ 8 w 82"/>
                    <a:gd name="T15" fmla="*/ 16 h 84"/>
                    <a:gd name="T16" fmla="*/ 8 w 82"/>
                    <a:gd name="T17" fmla="*/ 16 h 84"/>
                    <a:gd name="T18" fmla="*/ 4 w 82"/>
                    <a:gd name="T19" fmla="*/ 16 h 84"/>
                    <a:gd name="T20" fmla="*/ 2 w 82"/>
                    <a:gd name="T21" fmla="*/ 14 h 84"/>
                    <a:gd name="T22" fmla="*/ 0 w 82"/>
                    <a:gd name="T23" fmla="*/ 12 h 84"/>
                    <a:gd name="T24" fmla="*/ 0 w 82"/>
                    <a:gd name="T25" fmla="*/ 8 h 84"/>
                    <a:gd name="T26" fmla="*/ 0 w 82"/>
                    <a:gd name="T27" fmla="*/ 8 h 84"/>
                    <a:gd name="T28" fmla="*/ 0 w 82"/>
                    <a:gd name="T29" fmla="*/ 6 h 84"/>
                    <a:gd name="T30" fmla="*/ 2 w 82"/>
                    <a:gd name="T31" fmla="*/ 2 h 84"/>
                    <a:gd name="T32" fmla="*/ 4 w 82"/>
                    <a:gd name="T33" fmla="*/ 0 h 84"/>
                    <a:gd name="T34" fmla="*/ 8 w 82"/>
                    <a:gd name="T35" fmla="*/ 0 h 84"/>
                    <a:gd name="T36" fmla="*/ 82 w 82"/>
                    <a:gd name="T37" fmla="*/ 0 h 84"/>
                    <a:gd name="T38" fmla="*/ 82 w 82"/>
                    <a:gd name="T39" fmla="*/ 76 h 84"/>
                    <a:gd name="T40" fmla="*/ 82 w 82"/>
                    <a:gd name="T41" fmla="*/ 76 h 84"/>
                    <a:gd name="T42" fmla="*/ 82 w 82"/>
                    <a:gd name="T43" fmla="*/ 80 h 84"/>
                    <a:gd name="T44" fmla="*/ 80 w 82"/>
                    <a:gd name="T45" fmla="*/ 82 h 84"/>
                    <a:gd name="T46" fmla="*/ 76 w 82"/>
                    <a:gd name="T47" fmla="*/ 84 h 84"/>
                    <a:gd name="T48" fmla="*/ 74 w 82"/>
                    <a:gd name="T49" fmla="*/ 84 h 84"/>
                    <a:gd name="T50" fmla="*/ 74 w 82"/>
                    <a:gd name="T51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0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4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6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8" name="Freeform 67"/>
                <p:cNvSpPr>
                  <a:spLocks/>
                </p:cNvSpPr>
                <p:nvPr/>
              </p:nvSpPr>
              <p:spPr bwMode="auto">
                <a:xfrm>
                  <a:off x="2867025" y="3246438"/>
                  <a:ext cx="133350" cy="133350"/>
                </a:xfrm>
                <a:custGeom>
                  <a:avLst/>
                  <a:gdLst>
                    <a:gd name="T0" fmla="*/ 8 w 84"/>
                    <a:gd name="T1" fmla="*/ 84 h 84"/>
                    <a:gd name="T2" fmla="*/ 8 w 84"/>
                    <a:gd name="T3" fmla="*/ 84 h 84"/>
                    <a:gd name="T4" fmla="*/ 4 w 84"/>
                    <a:gd name="T5" fmla="*/ 82 h 84"/>
                    <a:gd name="T6" fmla="*/ 2 w 84"/>
                    <a:gd name="T7" fmla="*/ 80 h 84"/>
                    <a:gd name="T8" fmla="*/ 2 w 84"/>
                    <a:gd name="T9" fmla="*/ 80 h 84"/>
                    <a:gd name="T10" fmla="*/ 0 w 84"/>
                    <a:gd name="T11" fmla="*/ 78 h 84"/>
                    <a:gd name="T12" fmla="*/ 0 w 84"/>
                    <a:gd name="T13" fmla="*/ 76 h 84"/>
                    <a:gd name="T14" fmla="*/ 0 w 84"/>
                    <a:gd name="T15" fmla="*/ 72 h 84"/>
                    <a:gd name="T16" fmla="*/ 2 w 84"/>
                    <a:gd name="T17" fmla="*/ 70 h 84"/>
                    <a:gd name="T18" fmla="*/ 70 w 84"/>
                    <a:gd name="T19" fmla="*/ 2 h 84"/>
                    <a:gd name="T20" fmla="*/ 70 w 84"/>
                    <a:gd name="T21" fmla="*/ 2 h 84"/>
                    <a:gd name="T22" fmla="*/ 72 w 84"/>
                    <a:gd name="T23" fmla="*/ 0 h 84"/>
                    <a:gd name="T24" fmla="*/ 76 w 84"/>
                    <a:gd name="T25" fmla="*/ 0 h 84"/>
                    <a:gd name="T26" fmla="*/ 78 w 84"/>
                    <a:gd name="T27" fmla="*/ 0 h 84"/>
                    <a:gd name="T28" fmla="*/ 82 w 84"/>
                    <a:gd name="T29" fmla="*/ 2 h 84"/>
                    <a:gd name="T30" fmla="*/ 82 w 84"/>
                    <a:gd name="T31" fmla="*/ 2 h 84"/>
                    <a:gd name="T32" fmla="*/ 82 w 84"/>
                    <a:gd name="T33" fmla="*/ 4 h 84"/>
                    <a:gd name="T34" fmla="*/ 84 w 84"/>
                    <a:gd name="T35" fmla="*/ 8 h 84"/>
                    <a:gd name="T36" fmla="*/ 82 w 84"/>
                    <a:gd name="T37" fmla="*/ 10 h 84"/>
                    <a:gd name="T38" fmla="*/ 82 w 84"/>
                    <a:gd name="T39" fmla="*/ 14 h 84"/>
                    <a:gd name="T40" fmla="*/ 14 w 84"/>
                    <a:gd name="T41" fmla="*/ 80 h 84"/>
                    <a:gd name="T42" fmla="*/ 14 w 84"/>
                    <a:gd name="T43" fmla="*/ 80 h 84"/>
                    <a:gd name="T44" fmla="*/ 10 w 84"/>
                    <a:gd name="T45" fmla="*/ 82 h 84"/>
                    <a:gd name="T46" fmla="*/ 8 w 84"/>
                    <a:gd name="T47" fmla="*/ 84 h 84"/>
                    <a:gd name="T48" fmla="*/ 8 w 84"/>
                    <a:gd name="T4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4">
                      <a:moveTo>
                        <a:pt x="8" y="84"/>
                      </a:moveTo>
                      <a:lnTo>
                        <a:pt x="8" y="84"/>
                      </a:lnTo>
                      <a:lnTo>
                        <a:pt x="4" y="82"/>
                      </a:lnTo>
                      <a:lnTo>
                        <a:pt x="2" y="80"/>
                      </a:lnTo>
                      <a:lnTo>
                        <a:pt x="2" y="80"/>
                      </a:lnTo>
                      <a:lnTo>
                        <a:pt x="0" y="78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2" y="70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78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2" y="4"/>
                      </a:lnTo>
                      <a:lnTo>
                        <a:pt x="84" y="8"/>
                      </a:lnTo>
                      <a:lnTo>
                        <a:pt x="82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0" y="82"/>
                      </a:lnTo>
                      <a:lnTo>
                        <a:pt x="8" y="84"/>
                      </a:lnTo>
                      <a:lnTo>
                        <a:pt x="8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9" name="Freeform 68"/>
                <p:cNvSpPr>
                  <a:spLocks/>
                </p:cNvSpPr>
                <p:nvPr/>
              </p:nvSpPr>
              <p:spPr bwMode="auto">
                <a:xfrm>
                  <a:off x="2930525" y="318293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2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6 w 82"/>
                    <a:gd name="T13" fmla="*/ 16 h 84"/>
                    <a:gd name="T14" fmla="*/ 8 w 82"/>
                    <a:gd name="T15" fmla="*/ 18 h 84"/>
                    <a:gd name="T16" fmla="*/ 8 w 82"/>
                    <a:gd name="T17" fmla="*/ 18 h 84"/>
                    <a:gd name="T18" fmla="*/ 8 w 82"/>
                    <a:gd name="T19" fmla="*/ 18 h 84"/>
                    <a:gd name="T20" fmla="*/ 6 w 82"/>
                    <a:gd name="T21" fmla="*/ 16 h 84"/>
                    <a:gd name="T22" fmla="*/ 2 w 82"/>
                    <a:gd name="T23" fmla="*/ 14 h 84"/>
                    <a:gd name="T24" fmla="*/ 0 w 82"/>
                    <a:gd name="T25" fmla="*/ 12 h 84"/>
                    <a:gd name="T26" fmla="*/ 0 w 82"/>
                    <a:gd name="T27" fmla="*/ 8 h 84"/>
                    <a:gd name="T28" fmla="*/ 0 w 82"/>
                    <a:gd name="T29" fmla="*/ 8 h 84"/>
                    <a:gd name="T30" fmla="*/ 0 w 82"/>
                    <a:gd name="T31" fmla="*/ 6 h 84"/>
                    <a:gd name="T32" fmla="*/ 2 w 82"/>
                    <a:gd name="T33" fmla="*/ 4 h 84"/>
                    <a:gd name="T34" fmla="*/ 6 w 82"/>
                    <a:gd name="T35" fmla="*/ 2 h 84"/>
                    <a:gd name="T36" fmla="*/ 8 w 82"/>
                    <a:gd name="T37" fmla="*/ 0 h 84"/>
                    <a:gd name="T38" fmla="*/ 82 w 82"/>
                    <a:gd name="T39" fmla="*/ 0 h 84"/>
                    <a:gd name="T40" fmla="*/ 82 w 82"/>
                    <a:gd name="T41" fmla="*/ 76 h 84"/>
                    <a:gd name="T42" fmla="*/ 82 w 82"/>
                    <a:gd name="T43" fmla="*/ 76 h 84"/>
                    <a:gd name="T44" fmla="*/ 82 w 82"/>
                    <a:gd name="T45" fmla="*/ 80 h 84"/>
                    <a:gd name="T46" fmla="*/ 80 w 82"/>
                    <a:gd name="T47" fmla="*/ 82 h 84"/>
                    <a:gd name="T48" fmla="*/ 78 w 82"/>
                    <a:gd name="T49" fmla="*/ 84 h 84"/>
                    <a:gd name="T50" fmla="*/ 74 w 82"/>
                    <a:gd name="T51" fmla="*/ 84 h 84"/>
                    <a:gd name="T52" fmla="*/ 74 w 82"/>
                    <a:gd name="T53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2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6" y="16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6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8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0" name="Freeform 69"/>
                <p:cNvSpPr>
                  <a:spLocks noEditPoints="1"/>
                </p:cNvSpPr>
                <p:nvPr/>
              </p:nvSpPr>
              <p:spPr bwMode="auto">
                <a:xfrm>
                  <a:off x="2924175" y="3338513"/>
                  <a:ext cx="114300" cy="123825"/>
                </a:xfrm>
                <a:custGeom>
                  <a:avLst/>
                  <a:gdLst>
                    <a:gd name="T0" fmla="*/ 36 w 72"/>
                    <a:gd name="T1" fmla="*/ 78 h 78"/>
                    <a:gd name="T2" fmla="*/ 36 w 72"/>
                    <a:gd name="T3" fmla="*/ 78 h 78"/>
                    <a:gd name="T4" fmla="*/ 28 w 72"/>
                    <a:gd name="T5" fmla="*/ 78 h 78"/>
                    <a:gd name="T6" fmla="*/ 22 w 72"/>
                    <a:gd name="T7" fmla="*/ 76 h 78"/>
                    <a:gd name="T8" fmla="*/ 16 w 72"/>
                    <a:gd name="T9" fmla="*/ 72 h 78"/>
                    <a:gd name="T10" fmla="*/ 10 w 72"/>
                    <a:gd name="T11" fmla="*/ 66 h 78"/>
                    <a:gd name="T12" fmla="*/ 6 w 72"/>
                    <a:gd name="T13" fmla="*/ 62 h 78"/>
                    <a:gd name="T14" fmla="*/ 2 w 72"/>
                    <a:gd name="T15" fmla="*/ 54 h 78"/>
                    <a:gd name="T16" fmla="*/ 0 w 72"/>
                    <a:gd name="T17" fmla="*/ 48 h 78"/>
                    <a:gd name="T18" fmla="*/ 0 w 72"/>
                    <a:gd name="T19" fmla="*/ 40 h 78"/>
                    <a:gd name="T20" fmla="*/ 0 w 72"/>
                    <a:gd name="T21" fmla="*/ 40 h 78"/>
                    <a:gd name="T22" fmla="*/ 0 w 72"/>
                    <a:gd name="T23" fmla="*/ 32 h 78"/>
                    <a:gd name="T24" fmla="*/ 2 w 72"/>
                    <a:gd name="T25" fmla="*/ 24 h 78"/>
                    <a:gd name="T26" fmla="*/ 6 w 72"/>
                    <a:gd name="T27" fmla="*/ 18 h 78"/>
                    <a:gd name="T28" fmla="*/ 10 w 72"/>
                    <a:gd name="T29" fmla="*/ 12 h 78"/>
                    <a:gd name="T30" fmla="*/ 16 w 72"/>
                    <a:gd name="T31" fmla="*/ 8 h 78"/>
                    <a:gd name="T32" fmla="*/ 22 w 72"/>
                    <a:gd name="T33" fmla="*/ 4 h 78"/>
                    <a:gd name="T34" fmla="*/ 28 w 72"/>
                    <a:gd name="T35" fmla="*/ 2 h 78"/>
                    <a:gd name="T36" fmla="*/ 36 w 72"/>
                    <a:gd name="T37" fmla="*/ 0 h 78"/>
                    <a:gd name="T38" fmla="*/ 36 w 72"/>
                    <a:gd name="T39" fmla="*/ 0 h 78"/>
                    <a:gd name="T40" fmla="*/ 42 w 72"/>
                    <a:gd name="T41" fmla="*/ 2 h 78"/>
                    <a:gd name="T42" fmla="*/ 50 w 72"/>
                    <a:gd name="T43" fmla="*/ 4 h 78"/>
                    <a:gd name="T44" fmla="*/ 56 w 72"/>
                    <a:gd name="T45" fmla="*/ 8 h 78"/>
                    <a:gd name="T46" fmla="*/ 60 w 72"/>
                    <a:gd name="T47" fmla="*/ 12 h 78"/>
                    <a:gd name="T48" fmla="*/ 66 w 72"/>
                    <a:gd name="T49" fmla="*/ 18 h 78"/>
                    <a:gd name="T50" fmla="*/ 68 w 72"/>
                    <a:gd name="T51" fmla="*/ 24 h 78"/>
                    <a:gd name="T52" fmla="*/ 70 w 72"/>
                    <a:gd name="T53" fmla="*/ 32 h 78"/>
                    <a:gd name="T54" fmla="*/ 72 w 72"/>
                    <a:gd name="T55" fmla="*/ 40 h 78"/>
                    <a:gd name="T56" fmla="*/ 72 w 72"/>
                    <a:gd name="T57" fmla="*/ 40 h 78"/>
                    <a:gd name="T58" fmla="*/ 70 w 72"/>
                    <a:gd name="T59" fmla="*/ 48 h 78"/>
                    <a:gd name="T60" fmla="*/ 68 w 72"/>
                    <a:gd name="T61" fmla="*/ 54 h 78"/>
                    <a:gd name="T62" fmla="*/ 66 w 72"/>
                    <a:gd name="T63" fmla="*/ 62 h 78"/>
                    <a:gd name="T64" fmla="*/ 60 w 72"/>
                    <a:gd name="T65" fmla="*/ 66 h 78"/>
                    <a:gd name="T66" fmla="*/ 56 w 72"/>
                    <a:gd name="T67" fmla="*/ 72 h 78"/>
                    <a:gd name="T68" fmla="*/ 50 w 72"/>
                    <a:gd name="T69" fmla="*/ 76 h 78"/>
                    <a:gd name="T70" fmla="*/ 42 w 72"/>
                    <a:gd name="T71" fmla="*/ 78 h 78"/>
                    <a:gd name="T72" fmla="*/ 36 w 72"/>
                    <a:gd name="T73" fmla="*/ 78 h 78"/>
                    <a:gd name="T74" fmla="*/ 36 w 72"/>
                    <a:gd name="T75" fmla="*/ 78 h 78"/>
                    <a:gd name="T76" fmla="*/ 36 w 72"/>
                    <a:gd name="T77" fmla="*/ 16 h 78"/>
                    <a:gd name="T78" fmla="*/ 36 w 72"/>
                    <a:gd name="T79" fmla="*/ 16 h 78"/>
                    <a:gd name="T80" fmla="*/ 28 w 72"/>
                    <a:gd name="T81" fmla="*/ 18 h 78"/>
                    <a:gd name="T82" fmla="*/ 22 w 72"/>
                    <a:gd name="T83" fmla="*/ 24 h 78"/>
                    <a:gd name="T84" fmla="*/ 18 w 72"/>
                    <a:gd name="T85" fmla="*/ 30 h 78"/>
                    <a:gd name="T86" fmla="*/ 16 w 72"/>
                    <a:gd name="T87" fmla="*/ 40 h 78"/>
                    <a:gd name="T88" fmla="*/ 16 w 72"/>
                    <a:gd name="T89" fmla="*/ 40 h 78"/>
                    <a:gd name="T90" fmla="*/ 18 w 72"/>
                    <a:gd name="T91" fmla="*/ 48 h 78"/>
                    <a:gd name="T92" fmla="*/ 22 w 72"/>
                    <a:gd name="T93" fmla="*/ 56 h 78"/>
                    <a:gd name="T94" fmla="*/ 28 w 72"/>
                    <a:gd name="T95" fmla="*/ 60 h 78"/>
                    <a:gd name="T96" fmla="*/ 36 w 72"/>
                    <a:gd name="T97" fmla="*/ 62 h 78"/>
                    <a:gd name="T98" fmla="*/ 36 w 72"/>
                    <a:gd name="T99" fmla="*/ 62 h 78"/>
                    <a:gd name="T100" fmla="*/ 42 w 72"/>
                    <a:gd name="T101" fmla="*/ 60 h 78"/>
                    <a:gd name="T102" fmla="*/ 50 w 72"/>
                    <a:gd name="T103" fmla="*/ 56 h 78"/>
                    <a:gd name="T104" fmla="*/ 54 w 72"/>
                    <a:gd name="T105" fmla="*/ 48 h 78"/>
                    <a:gd name="T106" fmla="*/ 54 w 72"/>
                    <a:gd name="T107" fmla="*/ 40 h 78"/>
                    <a:gd name="T108" fmla="*/ 54 w 72"/>
                    <a:gd name="T109" fmla="*/ 40 h 78"/>
                    <a:gd name="T110" fmla="*/ 54 w 72"/>
                    <a:gd name="T111" fmla="*/ 30 h 78"/>
                    <a:gd name="T112" fmla="*/ 50 w 72"/>
                    <a:gd name="T113" fmla="*/ 24 h 78"/>
                    <a:gd name="T114" fmla="*/ 42 w 72"/>
                    <a:gd name="T115" fmla="*/ 18 h 78"/>
                    <a:gd name="T116" fmla="*/ 36 w 72"/>
                    <a:gd name="T117" fmla="*/ 16 h 78"/>
                    <a:gd name="T118" fmla="*/ 36 w 72"/>
                    <a:gd name="T119" fmla="*/ 16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2" h="78">
                      <a:moveTo>
                        <a:pt x="36" y="78"/>
                      </a:moveTo>
                      <a:lnTo>
                        <a:pt x="36" y="78"/>
                      </a:lnTo>
                      <a:lnTo>
                        <a:pt x="28" y="78"/>
                      </a:lnTo>
                      <a:lnTo>
                        <a:pt x="22" y="76"/>
                      </a:lnTo>
                      <a:lnTo>
                        <a:pt x="16" y="72"/>
                      </a:lnTo>
                      <a:lnTo>
                        <a:pt x="10" y="66"/>
                      </a:lnTo>
                      <a:lnTo>
                        <a:pt x="6" y="62"/>
                      </a:lnTo>
                      <a:lnTo>
                        <a:pt x="2" y="54"/>
                      </a:lnTo>
                      <a:lnTo>
                        <a:pt x="0" y="48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2" y="24"/>
                      </a:lnTo>
                      <a:lnTo>
                        <a:pt x="6" y="18"/>
                      </a:lnTo>
                      <a:lnTo>
                        <a:pt x="10" y="12"/>
                      </a:lnTo>
                      <a:lnTo>
                        <a:pt x="16" y="8"/>
                      </a:lnTo>
                      <a:lnTo>
                        <a:pt x="22" y="4"/>
                      </a:lnTo>
                      <a:lnTo>
                        <a:pt x="28" y="2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42" y="2"/>
                      </a:lnTo>
                      <a:lnTo>
                        <a:pt x="50" y="4"/>
                      </a:lnTo>
                      <a:lnTo>
                        <a:pt x="56" y="8"/>
                      </a:lnTo>
                      <a:lnTo>
                        <a:pt x="60" y="12"/>
                      </a:lnTo>
                      <a:lnTo>
                        <a:pt x="66" y="18"/>
                      </a:lnTo>
                      <a:lnTo>
                        <a:pt x="68" y="24"/>
                      </a:lnTo>
                      <a:lnTo>
                        <a:pt x="70" y="32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0" y="48"/>
                      </a:lnTo>
                      <a:lnTo>
                        <a:pt x="68" y="54"/>
                      </a:lnTo>
                      <a:lnTo>
                        <a:pt x="66" y="62"/>
                      </a:lnTo>
                      <a:lnTo>
                        <a:pt x="60" y="66"/>
                      </a:lnTo>
                      <a:lnTo>
                        <a:pt x="56" y="72"/>
                      </a:lnTo>
                      <a:lnTo>
                        <a:pt x="50" y="76"/>
                      </a:lnTo>
                      <a:lnTo>
                        <a:pt x="42" y="78"/>
                      </a:lnTo>
                      <a:lnTo>
                        <a:pt x="36" y="78"/>
                      </a:lnTo>
                      <a:lnTo>
                        <a:pt x="36" y="78"/>
                      </a:lnTo>
                      <a:close/>
                      <a:moveTo>
                        <a:pt x="36" y="16"/>
                      </a:moveTo>
                      <a:lnTo>
                        <a:pt x="36" y="16"/>
                      </a:lnTo>
                      <a:lnTo>
                        <a:pt x="28" y="18"/>
                      </a:lnTo>
                      <a:lnTo>
                        <a:pt x="22" y="24"/>
                      </a:lnTo>
                      <a:lnTo>
                        <a:pt x="18" y="3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48"/>
                      </a:lnTo>
                      <a:lnTo>
                        <a:pt x="22" y="56"/>
                      </a:lnTo>
                      <a:lnTo>
                        <a:pt x="28" y="60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42" y="60"/>
                      </a:lnTo>
                      <a:lnTo>
                        <a:pt x="50" y="56"/>
                      </a:lnTo>
                      <a:lnTo>
                        <a:pt x="54" y="48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4" y="30"/>
                      </a:lnTo>
                      <a:lnTo>
                        <a:pt x="50" y="24"/>
                      </a:lnTo>
                      <a:lnTo>
                        <a:pt x="42" y="18"/>
                      </a:lnTo>
                      <a:lnTo>
                        <a:pt x="36" y="16"/>
                      </a:lnTo>
                      <a:lnTo>
                        <a:pt x="36" y="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1" name="Freeform 70"/>
                <p:cNvSpPr>
                  <a:spLocks/>
                </p:cNvSpPr>
                <p:nvPr/>
              </p:nvSpPr>
              <p:spPr bwMode="auto">
                <a:xfrm>
                  <a:off x="2863850" y="3436938"/>
                  <a:ext cx="222250" cy="171450"/>
                </a:xfrm>
                <a:custGeom>
                  <a:avLst/>
                  <a:gdLst>
                    <a:gd name="T0" fmla="*/ 8 w 140"/>
                    <a:gd name="T1" fmla="*/ 108 h 108"/>
                    <a:gd name="T2" fmla="*/ 4 w 140"/>
                    <a:gd name="T3" fmla="*/ 106 h 108"/>
                    <a:gd name="T4" fmla="*/ 0 w 140"/>
                    <a:gd name="T5" fmla="*/ 100 h 108"/>
                    <a:gd name="T6" fmla="*/ 0 w 140"/>
                    <a:gd name="T7" fmla="*/ 90 h 108"/>
                    <a:gd name="T8" fmla="*/ 6 w 140"/>
                    <a:gd name="T9" fmla="*/ 54 h 108"/>
                    <a:gd name="T10" fmla="*/ 18 w 140"/>
                    <a:gd name="T11" fmla="*/ 28 h 108"/>
                    <a:gd name="T12" fmla="*/ 28 w 140"/>
                    <a:gd name="T13" fmla="*/ 16 h 108"/>
                    <a:gd name="T14" fmla="*/ 46 w 140"/>
                    <a:gd name="T15" fmla="*/ 4 h 108"/>
                    <a:gd name="T16" fmla="*/ 68 w 140"/>
                    <a:gd name="T17" fmla="*/ 0 h 108"/>
                    <a:gd name="T18" fmla="*/ 72 w 140"/>
                    <a:gd name="T19" fmla="*/ 0 h 108"/>
                    <a:gd name="T20" fmla="*/ 94 w 140"/>
                    <a:gd name="T21" fmla="*/ 4 h 108"/>
                    <a:gd name="T22" fmla="*/ 114 w 140"/>
                    <a:gd name="T23" fmla="*/ 16 h 108"/>
                    <a:gd name="T24" fmla="*/ 122 w 140"/>
                    <a:gd name="T25" fmla="*/ 28 h 108"/>
                    <a:gd name="T26" fmla="*/ 134 w 140"/>
                    <a:gd name="T27" fmla="*/ 54 h 108"/>
                    <a:gd name="T28" fmla="*/ 140 w 140"/>
                    <a:gd name="T29" fmla="*/ 90 h 108"/>
                    <a:gd name="T30" fmla="*/ 140 w 140"/>
                    <a:gd name="T31" fmla="*/ 100 h 108"/>
                    <a:gd name="T32" fmla="*/ 138 w 140"/>
                    <a:gd name="T33" fmla="*/ 106 h 108"/>
                    <a:gd name="T34" fmla="*/ 132 w 140"/>
                    <a:gd name="T35" fmla="*/ 108 h 108"/>
                    <a:gd name="T36" fmla="*/ 128 w 140"/>
                    <a:gd name="T37" fmla="*/ 108 h 108"/>
                    <a:gd name="T38" fmla="*/ 124 w 140"/>
                    <a:gd name="T39" fmla="*/ 102 h 108"/>
                    <a:gd name="T40" fmla="*/ 124 w 140"/>
                    <a:gd name="T41" fmla="*/ 100 h 108"/>
                    <a:gd name="T42" fmla="*/ 120 w 140"/>
                    <a:gd name="T43" fmla="*/ 72 h 108"/>
                    <a:gd name="T44" fmla="*/ 114 w 140"/>
                    <a:gd name="T45" fmla="*/ 48 h 108"/>
                    <a:gd name="T46" fmla="*/ 102 w 140"/>
                    <a:gd name="T47" fmla="*/ 28 h 108"/>
                    <a:gd name="T48" fmla="*/ 96 w 140"/>
                    <a:gd name="T49" fmla="*/ 24 h 108"/>
                    <a:gd name="T50" fmla="*/ 80 w 140"/>
                    <a:gd name="T51" fmla="*/ 18 h 108"/>
                    <a:gd name="T52" fmla="*/ 68 w 140"/>
                    <a:gd name="T53" fmla="*/ 16 h 108"/>
                    <a:gd name="T54" fmla="*/ 60 w 140"/>
                    <a:gd name="T55" fmla="*/ 18 h 108"/>
                    <a:gd name="T56" fmla="*/ 46 w 140"/>
                    <a:gd name="T57" fmla="*/ 24 h 108"/>
                    <a:gd name="T58" fmla="*/ 38 w 140"/>
                    <a:gd name="T59" fmla="*/ 28 h 108"/>
                    <a:gd name="T60" fmla="*/ 26 w 140"/>
                    <a:gd name="T61" fmla="*/ 48 h 108"/>
                    <a:gd name="T62" fmla="*/ 20 w 140"/>
                    <a:gd name="T63" fmla="*/ 72 h 108"/>
                    <a:gd name="T64" fmla="*/ 18 w 140"/>
                    <a:gd name="T65" fmla="*/ 100 h 108"/>
                    <a:gd name="T66" fmla="*/ 16 w 140"/>
                    <a:gd name="T67" fmla="*/ 102 h 108"/>
                    <a:gd name="T68" fmla="*/ 12 w 140"/>
                    <a:gd name="T69" fmla="*/ 108 h 108"/>
                    <a:gd name="T70" fmla="*/ 8 w 140"/>
                    <a:gd name="T71" fmla="*/ 108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0" h="108">
                      <a:moveTo>
                        <a:pt x="8" y="108"/>
                      </a:moveTo>
                      <a:lnTo>
                        <a:pt x="8" y="108"/>
                      </a:lnTo>
                      <a:lnTo>
                        <a:pt x="6" y="108"/>
                      </a:lnTo>
                      <a:lnTo>
                        <a:pt x="4" y="106"/>
                      </a:lnTo>
                      <a:lnTo>
                        <a:pt x="2" y="102"/>
                      </a:lnTo>
                      <a:lnTo>
                        <a:pt x="0" y="100"/>
                      </a:lnTo>
                      <a:lnTo>
                        <a:pt x="0" y="100"/>
                      </a:lnTo>
                      <a:lnTo>
                        <a:pt x="0" y="90"/>
                      </a:lnTo>
                      <a:lnTo>
                        <a:pt x="4" y="68"/>
                      </a:lnTo>
                      <a:lnTo>
                        <a:pt x="6" y="54"/>
                      </a:lnTo>
                      <a:lnTo>
                        <a:pt x="12" y="42"/>
                      </a:lnTo>
                      <a:lnTo>
                        <a:pt x="18" y="28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6" y="10"/>
                      </a:lnTo>
                      <a:lnTo>
                        <a:pt x="46" y="4"/>
                      </a:lnTo>
                      <a:lnTo>
                        <a:pt x="56" y="2"/>
                      </a:lnTo>
                      <a:lnTo>
                        <a:pt x="68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84" y="2"/>
                      </a:lnTo>
                      <a:lnTo>
                        <a:pt x="94" y="4"/>
                      </a:lnTo>
                      <a:lnTo>
                        <a:pt x="104" y="10"/>
                      </a:lnTo>
                      <a:lnTo>
                        <a:pt x="114" y="16"/>
                      </a:lnTo>
                      <a:lnTo>
                        <a:pt x="114" y="16"/>
                      </a:lnTo>
                      <a:lnTo>
                        <a:pt x="122" y="28"/>
                      </a:lnTo>
                      <a:lnTo>
                        <a:pt x="128" y="42"/>
                      </a:lnTo>
                      <a:lnTo>
                        <a:pt x="134" y="54"/>
                      </a:lnTo>
                      <a:lnTo>
                        <a:pt x="136" y="68"/>
                      </a:lnTo>
                      <a:lnTo>
                        <a:pt x="140" y="90"/>
                      </a:lnTo>
                      <a:lnTo>
                        <a:pt x="140" y="100"/>
                      </a:lnTo>
                      <a:lnTo>
                        <a:pt x="140" y="100"/>
                      </a:lnTo>
                      <a:lnTo>
                        <a:pt x="140" y="102"/>
                      </a:lnTo>
                      <a:lnTo>
                        <a:pt x="138" y="106"/>
                      </a:lnTo>
                      <a:lnTo>
                        <a:pt x="134" y="108"/>
                      </a:lnTo>
                      <a:lnTo>
                        <a:pt x="132" y="108"/>
                      </a:lnTo>
                      <a:lnTo>
                        <a:pt x="132" y="108"/>
                      </a:lnTo>
                      <a:lnTo>
                        <a:pt x="128" y="108"/>
                      </a:lnTo>
                      <a:lnTo>
                        <a:pt x="126" y="106"/>
                      </a:lnTo>
                      <a:lnTo>
                        <a:pt x="124" y="102"/>
                      </a:lnTo>
                      <a:lnTo>
                        <a:pt x="124" y="100"/>
                      </a:lnTo>
                      <a:lnTo>
                        <a:pt x="124" y="100"/>
                      </a:lnTo>
                      <a:lnTo>
                        <a:pt x="124" y="92"/>
                      </a:lnTo>
                      <a:lnTo>
                        <a:pt x="120" y="72"/>
                      </a:lnTo>
                      <a:lnTo>
                        <a:pt x="118" y="60"/>
                      </a:lnTo>
                      <a:lnTo>
                        <a:pt x="114" y="48"/>
                      </a:lnTo>
                      <a:lnTo>
                        <a:pt x="108" y="38"/>
                      </a:lnTo>
                      <a:lnTo>
                        <a:pt x="102" y="28"/>
                      </a:lnTo>
                      <a:lnTo>
                        <a:pt x="102" y="28"/>
                      </a:lnTo>
                      <a:lnTo>
                        <a:pt x="96" y="24"/>
                      </a:lnTo>
                      <a:lnTo>
                        <a:pt x="88" y="20"/>
                      </a:lnTo>
                      <a:lnTo>
                        <a:pt x="80" y="18"/>
                      </a:lnTo>
                      <a:lnTo>
                        <a:pt x="72" y="16"/>
                      </a:lnTo>
                      <a:lnTo>
                        <a:pt x="68" y="16"/>
                      </a:lnTo>
                      <a:lnTo>
                        <a:pt x="68" y="16"/>
                      </a:lnTo>
                      <a:lnTo>
                        <a:pt x="60" y="18"/>
                      </a:lnTo>
                      <a:lnTo>
                        <a:pt x="52" y="20"/>
                      </a:lnTo>
                      <a:lnTo>
                        <a:pt x="46" y="24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2" y="38"/>
                      </a:lnTo>
                      <a:lnTo>
                        <a:pt x="26" y="48"/>
                      </a:lnTo>
                      <a:lnTo>
                        <a:pt x="22" y="60"/>
                      </a:lnTo>
                      <a:lnTo>
                        <a:pt x="20" y="72"/>
                      </a:lnTo>
                      <a:lnTo>
                        <a:pt x="18" y="92"/>
                      </a:lnTo>
                      <a:lnTo>
                        <a:pt x="18" y="100"/>
                      </a:lnTo>
                      <a:lnTo>
                        <a:pt x="18" y="100"/>
                      </a:lnTo>
                      <a:lnTo>
                        <a:pt x="16" y="102"/>
                      </a:lnTo>
                      <a:lnTo>
                        <a:pt x="14" y="106"/>
                      </a:lnTo>
                      <a:lnTo>
                        <a:pt x="12" y="108"/>
                      </a:lnTo>
                      <a:lnTo>
                        <a:pt x="10" y="108"/>
                      </a:lnTo>
                      <a:lnTo>
                        <a:pt x="8" y="10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47" name="Group 46"/>
            <p:cNvGrpSpPr/>
            <p:nvPr/>
          </p:nvGrpSpPr>
          <p:grpSpPr>
            <a:xfrm>
              <a:off x="3160027" y="4274677"/>
              <a:ext cx="564063" cy="564063"/>
              <a:chOff x="3363004" y="960002"/>
              <a:chExt cx="564063" cy="564063"/>
            </a:xfrm>
          </p:grpSpPr>
          <p:sp>
            <p:nvSpPr>
              <p:cNvPr id="55" name="Rounded Rectangle 54"/>
              <p:cNvSpPr/>
              <p:nvPr/>
            </p:nvSpPr>
            <p:spPr>
              <a:xfrm>
                <a:off x="3363004" y="960002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87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756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634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51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38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265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143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021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IN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48" name="Group 55"/>
              <p:cNvGrpSpPr/>
              <p:nvPr/>
            </p:nvGrpSpPr>
            <p:grpSpPr>
              <a:xfrm>
                <a:off x="3447494" y="1037273"/>
                <a:ext cx="403225" cy="415925"/>
                <a:chOff x="3444875" y="2605088"/>
                <a:chExt cx="403225" cy="415925"/>
              </a:xfrm>
            </p:grpSpPr>
            <p:sp>
              <p:nvSpPr>
                <p:cNvPr id="57" name="Freeform 56"/>
                <p:cNvSpPr>
                  <a:spLocks noEditPoints="1"/>
                </p:cNvSpPr>
                <p:nvPr/>
              </p:nvSpPr>
              <p:spPr bwMode="auto">
                <a:xfrm>
                  <a:off x="3444875" y="2605088"/>
                  <a:ext cx="168275" cy="168275"/>
                </a:xfrm>
                <a:custGeom>
                  <a:avLst/>
                  <a:gdLst>
                    <a:gd name="T0" fmla="*/ 86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6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8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88 h 106"/>
                    <a:gd name="T40" fmla="*/ 106 w 106"/>
                    <a:gd name="T41" fmla="*/ 88 h 106"/>
                    <a:gd name="T42" fmla="*/ 104 w 106"/>
                    <a:gd name="T43" fmla="*/ 94 h 106"/>
                    <a:gd name="T44" fmla="*/ 100 w 106"/>
                    <a:gd name="T45" fmla="*/ 100 h 106"/>
                    <a:gd name="T46" fmla="*/ 94 w 106"/>
                    <a:gd name="T47" fmla="*/ 106 h 106"/>
                    <a:gd name="T48" fmla="*/ 86 w 106"/>
                    <a:gd name="T49" fmla="*/ 106 h 106"/>
                    <a:gd name="T50" fmla="*/ 86 w 106"/>
                    <a:gd name="T51" fmla="*/ 106 h 106"/>
                    <a:gd name="T52" fmla="*/ 20 w 106"/>
                    <a:gd name="T53" fmla="*/ 18 h 106"/>
                    <a:gd name="T54" fmla="*/ 20 w 106"/>
                    <a:gd name="T55" fmla="*/ 18 h 106"/>
                    <a:gd name="T56" fmla="*/ 16 w 106"/>
                    <a:gd name="T57" fmla="*/ 18 h 106"/>
                    <a:gd name="T58" fmla="*/ 16 w 106"/>
                    <a:gd name="T59" fmla="*/ 20 h 106"/>
                    <a:gd name="T60" fmla="*/ 16 w 106"/>
                    <a:gd name="T61" fmla="*/ 88 h 106"/>
                    <a:gd name="T62" fmla="*/ 16 w 106"/>
                    <a:gd name="T63" fmla="*/ 88 h 106"/>
                    <a:gd name="T64" fmla="*/ 16 w 106"/>
                    <a:gd name="T65" fmla="*/ 90 h 106"/>
                    <a:gd name="T66" fmla="*/ 20 w 106"/>
                    <a:gd name="T67" fmla="*/ 90 h 106"/>
                    <a:gd name="T68" fmla="*/ 86 w 106"/>
                    <a:gd name="T69" fmla="*/ 90 h 106"/>
                    <a:gd name="T70" fmla="*/ 86 w 106"/>
                    <a:gd name="T71" fmla="*/ 90 h 106"/>
                    <a:gd name="T72" fmla="*/ 88 w 106"/>
                    <a:gd name="T73" fmla="*/ 90 h 106"/>
                    <a:gd name="T74" fmla="*/ 90 w 106"/>
                    <a:gd name="T75" fmla="*/ 88 h 106"/>
                    <a:gd name="T76" fmla="*/ 90 w 106"/>
                    <a:gd name="T77" fmla="*/ 20 h 106"/>
                    <a:gd name="T78" fmla="*/ 90 w 106"/>
                    <a:gd name="T79" fmla="*/ 20 h 106"/>
                    <a:gd name="T80" fmla="*/ 88 w 106"/>
                    <a:gd name="T81" fmla="*/ 18 h 106"/>
                    <a:gd name="T82" fmla="*/ 86 w 106"/>
                    <a:gd name="T83" fmla="*/ 18 h 106"/>
                    <a:gd name="T84" fmla="*/ 20 w 106"/>
                    <a:gd name="T85" fmla="*/ 1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6" h="106">
                      <a:moveTo>
                        <a:pt x="86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6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88"/>
                      </a:lnTo>
                      <a:lnTo>
                        <a:pt x="106" y="88"/>
                      </a:lnTo>
                      <a:lnTo>
                        <a:pt x="104" y="94"/>
                      </a:lnTo>
                      <a:lnTo>
                        <a:pt x="100" y="100"/>
                      </a:lnTo>
                      <a:lnTo>
                        <a:pt x="94" y="106"/>
                      </a:lnTo>
                      <a:lnTo>
                        <a:pt x="86" y="106"/>
                      </a:lnTo>
                      <a:lnTo>
                        <a:pt x="86" y="106"/>
                      </a:lnTo>
                      <a:close/>
                      <a:moveTo>
                        <a:pt x="20" y="18"/>
                      </a:moveTo>
                      <a:lnTo>
                        <a:pt x="20" y="18"/>
                      </a:lnTo>
                      <a:lnTo>
                        <a:pt x="16" y="18"/>
                      </a:lnTo>
                      <a:lnTo>
                        <a:pt x="16" y="20"/>
                      </a:lnTo>
                      <a:lnTo>
                        <a:pt x="16" y="88"/>
                      </a:lnTo>
                      <a:lnTo>
                        <a:pt x="16" y="88"/>
                      </a:lnTo>
                      <a:lnTo>
                        <a:pt x="16" y="90"/>
                      </a:lnTo>
                      <a:lnTo>
                        <a:pt x="20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90" y="88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8"/>
                      </a:lnTo>
                      <a:lnTo>
                        <a:pt x="20" y="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8" name="Freeform 57"/>
                <p:cNvSpPr>
                  <a:spLocks noEditPoints="1"/>
                </p:cNvSpPr>
                <p:nvPr/>
              </p:nvSpPr>
              <p:spPr bwMode="auto">
                <a:xfrm>
                  <a:off x="3679825" y="2605088"/>
                  <a:ext cx="168275" cy="168275"/>
                </a:xfrm>
                <a:custGeom>
                  <a:avLst/>
                  <a:gdLst>
                    <a:gd name="T0" fmla="*/ 86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6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8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88 h 106"/>
                    <a:gd name="T40" fmla="*/ 106 w 106"/>
                    <a:gd name="T41" fmla="*/ 88 h 106"/>
                    <a:gd name="T42" fmla="*/ 104 w 106"/>
                    <a:gd name="T43" fmla="*/ 94 h 106"/>
                    <a:gd name="T44" fmla="*/ 100 w 106"/>
                    <a:gd name="T45" fmla="*/ 100 h 106"/>
                    <a:gd name="T46" fmla="*/ 94 w 106"/>
                    <a:gd name="T47" fmla="*/ 106 h 106"/>
                    <a:gd name="T48" fmla="*/ 86 w 106"/>
                    <a:gd name="T49" fmla="*/ 106 h 106"/>
                    <a:gd name="T50" fmla="*/ 86 w 106"/>
                    <a:gd name="T51" fmla="*/ 106 h 106"/>
                    <a:gd name="T52" fmla="*/ 20 w 106"/>
                    <a:gd name="T53" fmla="*/ 18 h 106"/>
                    <a:gd name="T54" fmla="*/ 20 w 106"/>
                    <a:gd name="T55" fmla="*/ 18 h 106"/>
                    <a:gd name="T56" fmla="*/ 18 w 106"/>
                    <a:gd name="T57" fmla="*/ 18 h 106"/>
                    <a:gd name="T58" fmla="*/ 16 w 106"/>
                    <a:gd name="T59" fmla="*/ 20 h 106"/>
                    <a:gd name="T60" fmla="*/ 16 w 106"/>
                    <a:gd name="T61" fmla="*/ 88 h 106"/>
                    <a:gd name="T62" fmla="*/ 16 w 106"/>
                    <a:gd name="T63" fmla="*/ 88 h 106"/>
                    <a:gd name="T64" fmla="*/ 18 w 106"/>
                    <a:gd name="T65" fmla="*/ 90 h 106"/>
                    <a:gd name="T66" fmla="*/ 20 w 106"/>
                    <a:gd name="T67" fmla="*/ 90 h 106"/>
                    <a:gd name="T68" fmla="*/ 86 w 106"/>
                    <a:gd name="T69" fmla="*/ 90 h 106"/>
                    <a:gd name="T70" fmla="*/ 86 w 106"/>
                    <a:gd name="T71" fmla="*/ 90 h 106"/>
                    <a:gd name="T72" fmla="*/ 88 w 106"/>
                    <a:gd name="T73" fmla="*/ 90 h 106"/>
                    <a:gd name="T74" fmla="*/ 90 w 106"/>
                    <a:gd name="T75" fmla="*/ 88 h 106"/>
                    <a:gd name="T76" fmla="*/ 90 w 106"/>
                    <a:gd name="T77" fmla="*/ 20 h 106"/>
                    <a:gd name="T78" fmla="*/ 90 w 106"/>
                    <a:gd name="T79" fmla="*/ 20 h 106"/>
                    <a:gd name="T80" fmla="*/ 88 w 106"/>
                    <a:gd name="T81" fmla="*/ 18 h 106"/>
                    <a:gd name="T82" fmla="*/ 86 w 106"/>
                    <a:gd name="T83" fmla="*/ 18 h 106"/>
                    <a:gd name="T84" fmla="*/ 20 w 106"/>
                    <a:gd name="T85" fmla="*/ 1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6" h="106">
                      <a:moveTo>
                        <a:pt x="86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6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88"/>
                      </a:lnTo>
                      <a:lnTo>
                        <a:pt x="106" y="88"/>
                      </a:lnTo>
                      <a:lnTo>
                        <a:pt x="104" y="94"/>
                      </a:lnTo>
                      <a:lnTo>
                        <a:pt x="100" y="100"/>
                      </a:lnTo>
                      <a:lnTo>
                        <a:pt x="94" y="106"/>
                      </a:lnTo>
                      <a:lnTo>
                        <a:pt x="86" y="106"/>
                      </a:lnTo>
                      <a:lnTo>
                        <a:pt x="86" y="106"/>
                      </a:lnTo>
                      <a:close/>
                      <a:moveTo>
                        <a:pt x="20" y="18"/>
                      </a:moveTo>
                      <a:lnTo>
                        <a:pt x="20" y="18"/>
                      </a:lnTo>
                      <a:lnTo>
                        <a:pt x="18" y="18"/>
                      </a:lnTo>
                      <a:lnTo>
                        <a:pt x="16" y="20"/>
                      </a:lnTo>
                      <a:lnTo>
                        <a:pt x="16" y="88"/>
                      </a:lnTo>
                      <a:lnTo>
                        <a:pt x="16" y="88"/>
                      </a:lnTo>
                      <a:lnTo>
                        <a:pt x="18" y="90"/>
                      </a:lnTo>
                      <a:lnTo>
                        <a:pt x="20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90" y="88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8"/>
                      </a:lnTo>
                      <a:lnTo>
                        <a:pt x="20" y="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9" name="Freeform 58"/>
                <p:cNvSpPr>
                  <a:spLocks/>
                </p:cNvSpPr>
                <p:nvPr/>
              </p:nvSpPr>
              <p:spPr bwMode="auto">
                <a:xfrm>
                  <a:off x="3562350" y="2852738"/>
                  <a:ext cx="168275" cy="168275"/>
                </a:xfrm>
                <a:custGeom>
                  <a:avLst/>
                  <a:gdLst>
                    <a:gd name="T0" fmla="*/ 74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4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6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74 h 106"/>
                    <a:gd name="T40" fmla="*/ 106 w 106"/>
                    <a:gd name="T41" fmla="*/ 74 h 106"/>
                    <a:gd name="T42" fmla="*/ 106 w 106"/>
                    <a:gd name="T43" fmla="*/ 78 h 106"/>
                    <a:gd name="T44" fmla="*/ 104 w 106"/>
                    <a:gd name="T45" fmla="*/ 80 h 106"/>
                    <a:gd name="T46" fmla="*/ 100 w 106"/>
                    <a:gd name="T47" fmla="*/ 82 h 106"/>
                    <a:gd name="T48" fmla="*/ 98 w 106"/>
                    <a:gd name="T49" fmla="*/ 84 h 106"/>
                    <a:gd name="T50" fmla="*/ 98 w 106"/>
                    <a:gd name="T51" fmla="*/ 84 h 106"/>
                    <a:gd name="T52" fmla="*/ 94 w 106"/>
                    <a:gd name="T53" fmla="*/ 82 h 106"/>
                    <a:gd name="T54" fmla="*/ 92 w 106"/>
                    <a:gd name="T55" fmla="*/ 80 h 106"/>
                    <a:gd name="T56" fmla="*/ 90 w 106"/>
                    <a:gd name="T57" fmla="*/ 78 h 106"/>
                    <a:gd name="T58" fmla="*/ 90 w 106"/>
                    <a:gd name="T59" fmla="*/ 74 h 106"/>
                    <a:gd name="T60" fmla="*/ 90 w 106"/>
                    <a:gd name="T61" fmla="*/ 20 h 106"/>
                    <a:gd name="T62" fmla="*/ 90 w 106"/>
                    <a:gd name="T63" fmla="*/ 20 h 106"/>
                    <a:gd name="T64" fmla="*/ 88 w 106"/>
                    <a:gd name="T65" fmla="*/ 18 h 106"/>
                    <a:gd name="T66" fmla="*/ 86 w 106"/>
                    <a:gd name="T67" fmla="*/ 16 h 106"/>
                    <a:gd name="T68" fmla="*/ 20 w 106"/>
                    <a:gd name="T69" fmla="*/ 16 h 106"/>
                    <a:gd name="T70" fmla="*/ 20 w 106"/>
                    <a:gd name="T71" fmla="*/ 16 h 106"/>
                    <a:gd name="T72" fmla="*/ 18 w 106"/>
                    <a:gd name="T73" fmla="*/ 18 h 106"/>
                    <a:gd name="T74" fmla="*/ 16 w 106"/>
                    <a:gd name="T75" fmla="*/ 20 h 106"/>
                    <a:gd name="T76" fmla="*/ 16 w 106"/>
                    <a:gd name="T77" fmla="*/ 86 h 106"/>
                    <a:gd name="T78" fmla="*/ 16 w 106"/>
                    <a:gd name="T79" fmla="*/ 86 h 106"/>
                    <a:gd name="T80" fmla="*/ 18 w 106"/>
                    <a:gd name="T81" fmla="*/ 88 h 106"/>
                    <a:gd name="T82" fmla="*/ 20 w 106"/>
                    <a:gd name="T83" fmla="*/ 90 h 106"/>
                    <a:gd name="T84" fmla="*/ 74 w 106"/>
                    <a:gd name="T85" fmla="*/ 90 h 106"/>
                    <a:gd name="T86" fmla="*/ 74 w 106"/>
                    <a:gd name="T87" fmla="*/ 90 h 106"/>
                    <a:gd name="T88" fmla="*/ 78 w 106"/>
                    <a:gd name="T89" fmla="*/ 90 h 106"/>
                    <a:gd name="T90" fmla="*/ 80 w 106"/>
                    <a:gd name="T91" fmla="*/ 92 h 106"/>
                    <a:gd name="T92" fmla="*/ 82 w 106"/>
                    <a:gd name="T93" fmla="*/ 94 h 106"/>
                    <a:gd name="T94" fmla="*/ 84 w 106"/>
                    <a:gd name="T95" fmla="*/ 98 h 106"/>
                    <a:gd name="T96" fmla="*/ 84 w 106"/>
                    <a:gd name="T97" fmla="*/ 98 h 106"/>
                    <a:gd name="T98" fmla="*/ 82 w 106"/>
                    <a:gd name="T99" fmla="*/ 100 h 106"/>
                    <a:gd name="T100" fmla="*/ 80 w 106"/>
                    <a:gd name="T101" fmla="*/ 104 h 106"/>
                    <a:gd name="T102" fmla="*/ 78 w 106"/>
                    <a:gd name="T103" fmla="*/ 106 h 106"/>
                    <a:gd name="T104" fmla="*/ 74 w 106"/>
                    <a:gd name="T105" fmla="*/ 106 h 106"/>
                    <a:gd name="T106" fmla="*/ 74 w 106"/>
                    <a:gd name="T10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6" h="106">
                      <a:moveTo>
                        <a:pt x="74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4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6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74"/>
                      </a:lnTo>
                      <a:lnTo>
                        <a:pt x="106" y="74"/>
                      </a:lnTo>
                      <a:lnTo>
                        <a:pt x="106" y="78"/>
                      </a:lnTo>
                      <a:lnTo>
                        <a:pt x="104" y="80"/>
                      </a:lnTo>
                      <a:lnTo>
                        <a:pt x="100" y="82"/>
                      </a:lnTo>
                      <a:lnTo>
                        <a:pt x="98" y="84"/>
                      </a:lnTo>
                      <a:lnTo>
                        <a:pt x="98" y="84"/>
                      </a:lnTo>
                      <a:lnTo>
                        <a:pt x="94" y="82"/>
                      </a:lnTo>
                      <a:lnTo>
                        <a:pt x="92" y="80"/>
                      </a:lnTo>
                      <a:lnTo>
                        <a:pt x="90" y="78"/>
                      </a:lnTo>
                      <a:lnTo>
                        <a:pt x="90" y="74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8" y="18"/>
                      </a:lnTo>
                      <a:lnTo>
                        <a:pt x="16" y="20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8" y="88"/>
                      </a:lnTo>
                      <a:lnTo>
                        <a:pt x="20" y="90"/>
                      </a:lnTo>
                      <a:lnTo>
                        <a:pt x="74" y="90"/>
                      </a:lnTo>
                      <a:lnTo>
                        <a:pt x="74" y="90"/>
                      </a:lnTo>
                      <a:lnTo>
                        <a:pt x="78" y="90"/>
                      </a:lnTo>
                      <a:lnTo>
                        <a:pt x="80" y="92"/>
                      </a:lnTo>
                      <a:lnTo>
                        <a:pt x="82" y="94"/>
                      </a:lnTo>
                      <a:lnTo>
                        <a:pt x="84" y="98"/>
                      </a:lnTo>
                      <a:lnTo>
                        <a:pt x="84" y="98"/>
                      </a:lnTo>
                      <a:lnTo>
                        <a:pt x="82" y="100"/>
                      </a:lnTo>
                      <a:lnTo>
                        <a:pt x="80" y="104"/>
                      </a:lnTo>
                      <a:lnTo>
                        <a:pt x="78" y="106"/>
                      </a:lnTo>
                      <a:lnTo>
                        <a:pt x="74" y="106"/>
                      </a:lnTo>
                      <a:lnTo>
                        <a:pt x="74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0" name="Freeform 59"/>
                <p:cNvSpPr>
                  <a:spLocks/>
                </p:cNvSpPr>
                <p:nvPr/>
              </p:nvSpPr>
              <p:spPr bwMode="auto">
                <a:xfrm>
                  <a:off x="3511550" y="2751138"/>
                  <a:ext cx="269875" cy="76200"/>
                </a:xfrm>
                <a:custGeom>
                  <a:avLst/>
                  <a:gdLst>
                    <a:gd name="T0" fmla="*/ 150 w 170"/>
                    <a:gd name="T1" fmla="*/ 48 h 48"/>
                    <a:gd name="T2" fmla="*/ 20 w 170"/>
                    <a:gd name="T3" fmla="*/ 48 h 48"/>
                    <a:gd name="T4" fmla="*/ 20 w 170"/>
                    <a:gd name="T5" fmla="*/ 48 h 48"/>
                    <a:gd name="T6" fmla="*/ 12 w 170"/>
                    <a:gd name="T7" fmla="*/ 46 h 48"/>
                    <a:gd name="T8" fmla="*/ 6 w 170"/>
                    <a:gd name="T9" fmla="*/ 42 h 48"/>
                    <a:gd name="T10" fmla="*/ 2 w 170"/>
                    <a:gd name="T11" fmla="*/ 36 h 48"/>
                    <a:gd name="T12" fmla="*/ 0 w 170"/>
                    <a:gd name="T13" fmla="*/ 28 h 48"/>
                    <a:gd name="T14" fmla="*/ 0 w 170"/>
                    <a:gd name="T15" fmla="*/ 8 h 48"/>
                    <a:gd name="T16" fmla="*/ 0 w 170"/>
                    <a:gd name="T17" fmla="*/ 8 h 48"/>
                    <a:gd name="T18" fmla="*/ 0 w 170"/>
                    <a:gd name="T19" fmla="*/ 6 h 48"/>
                    <a:gd name="T20" fmla="*/ 2 w 170"/>
                    <a:gd name="T21" fmla="*/ 4 h 48"/>
                    <a:gd name="T22" fmla="*/ 6 w 170"/>
                    <a:gd name="T23" fmla="*/ 2 h 48"/>
                    <a:gd name="T24" fmla="*/ 8 w 170"/>
                    <a:gd name="T25" fmla="*/ 0 h 48"/>
                    <a:gd name="T26" fmla="*/ 8 w 170"/>
                    <a:gd name="T27" fmla="*/ 0 h 48"/>
                    <a:gd name="T28" fmla="*/ 12 w 170"/>
                    <a:gd name="T29" fmla="*/ 2 h 48"/>
                    <a:gd name="T30" fmla="*/ 14 w 170"/>
                    <a:gd name="T31" fmla="*/ 4 h 48"/>
                    <a:gd name="T32" fmla="*/ 16 w 170"/>
                    <a:gd name="T33" fmla="*/ 6 h 48"/>
                    <a:gd name="T34" fmla="*/ 16 w 170"/>
                    <a:gd name="T35" fmla="*/ 8 h 48"/>
                    <a:gd name="T36" fmla="*/ 16 w 170"/>
                    <a:gd name="T37" fmla="*/ 28 h 48"/>
                    <a:gd name="T38" fmla="*/ 16 w 170"/>
                    <a:gd name="T39" fmla="*/ 28 h 48"/>
                    <a:gd name="T40" fmla="*/ 18 w 170"/>
                    <a:gd name="T41" fmla="*/ 30 h 48"/>
                    <a:gd name="T42" fmla="*/ 20 w 170"/>
                    <a:gd name="T43" fmla="*/ 32 h 48"/>
                    <a:gd name="T44" fmla="*/ 150 w 170"/>
                    <a:gd name="T45" fmla="*/ 32 h 48"/>
                    <a:gd name="T46" fmla="*/ 150 w 170"/>
                    <a:gd name="T47" fmla="*/ 32 h 48"/>
                    <a:gd name="T48" fmla="*/ 152 w 170"/>
                    <a:gd name="T49" fmla="*/ 30 h 48"/>
                    <a:gd name="T50" fmla="*/ 154 w 170"/>
                    <a:gd name="T51" fmla="*/ 28 h 48"/>
                    <a:gd name="T52" fmla="*/ 154 w 170"/>
                    <a:gd name="T53" fmla="*/ 8 h 48"/>
                    <a:gd name="T54" fmla="*/ 154 w 170"/>
                    <a:gd name="T55" fmla="*/ 8 h 48"/>
                    <a:gd name="T56" fmla="*/ 154 w 170"/>
                    <a:gd name="T57" fmla="*/ 6 h 48"/>
                    <a:gd name="T58" fmla="*/ 156 w 170"/>
                    <a:gd name="T59" fmla="*/ 4 h 48"/>
                    <a:gd name="T60" fmla="*/ 158 w 170"/>
                    <a:gd name="T61" fmla="*/ 2 h 48"/>
                    <a:gd name="T62" fmla="*/ 162 w 170"/>
                    <a:gd name="T63" fmla="*/ 0 h 48"/>
                    <a:gd name="T64" fmla="*/ 162 w 170"/>
                    <a:gd name="T65" fmla="*/ 0 h 48"/>
                    <a:gd name="T66" fmla="*/ 164 w 170"/>
                    <a:gd name="T67" fmla="*/ 2 h 48"/>
                    <a:gd name="T68" fmla="*/ 168 w 170"/>
                    <a:gd name="T69" fmla="*/ 4 h 48"/>
                    <a:gd name="T70" fmla="*/ 168 w 170"/>
                    <a:gd name="T71" fmla="*/ 6 h 48"/>
                    <a:gd name="T72" fmla="*/ 170 w 170"/>
                    <a:gd name="T73" fmla="*/ 8 h 48"/>
                    <a:gd name="T74" fmla="*/ 170 w 170"/>
                    <a:gd name="T75" fmla="*/ 28 h 48"/>
                    <a:gd name="T76" fmla="*/ 170 w 170"/>
                    <a:gd name="T77" fmla="*/ 28 h 48"/>
                    <a:gd name="T78" fmla="*/ 168 w 170"/>
                    <a:gd name="T79" fmla="*/ 36 h 48"/>
                    <a:gd name="T80" fmla="*/ 164 w 170"/>
                    <a:gd name="T81" fmla="*/ 42 h 48"/>
                    <a:gd name="T82" fmla="*/ 158 w 170"/>
                    <a:gd name="T83" fmla="*/ 46 h 48"/>
                    <a:gd name="T84" fmla="*/ 150 w 170"/>
                    <a:gd name="T85" fmla="*/ 48 h 48"/>
                    <a:gd name="T86" fmla="*/ 150 w 170"/>
                    <a:gd name="T87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70" h="48">
                      <a:moveTo>
                        <a:pt x="150" y="48"/>
                      </a:moveTo>
                      <a:lnTo>
                        <a:pt x="20" y="48"/>
                      </a:lnTo>
                      <a:lnTo>
                        <a:pt x="20" y="48"/>
                      </a:lnTo>
                      <a:lnTo>
                        <a:pt x="12" y="46"/>
                      </a:lnTo>
                      <a:lnTo>
                        <a:pt x="6" y="42"/>
                      </a:lnTo>
                      <a:lnTo>
                        <a:pt x="2" y="36"/>
                      </a:lnTo>
                      <a:lnTo>
                        <a:pt x="0" y="2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2"/>
                      </a:lnTo>
                      <a:lnTo>
                        <a:pt x="14" y="4"/>
                      </a:lnTo>
                      <a:lnTo>
                        <a:pt x="16" y="6"/>
                      </a:lnTo>
                      <a:lnTo>
                        <a:pt x="16" y="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8" y="30"/>
                      </a:lnTo>
                      <a:lnTo>
                        <a:pt x="20" y="32"/>
                      </a:lnTo>
                      <a:lnTo>
                        <a:pt x="150" y="32"/>
                      </a:lnTo>
                      <a:lnTo>
                        <a:pt x="150" y="32"/>
                      </a:lnTo>
                      <a:lnTo>
                        <a:pt x="152" y="30"/>
                      </a:lnTo>
                      <a:lnTo>
                        <a:pt x="154" y="28"/>
                      </a:lnTo>
                      <a:lnTo>
                        <a:pt x="154" y="8"/>
                      </a:lnTo>
                      <a:lnTo>
                        <a:pt x="154" y="8"/>
                      </a:lnTo>
                      <a:lnTo>
                        <a:pt x="154" y="6"/>
                      </a:lnTo>
                      <a:lnTo>
                        <a:pt x="156" y="4"/>
                      </a:lnTo>
                      <a:lnTo>
                        <a:pt x="158" y="2"/>
                      </a:lnTo>
                      <a:lnTo>
                        <a:pt x="162" y="0"/>
                      </a:lnTo>
                      <a:lnTo>
                        <a:pt x="162" y="0"/>
                      </a:lnTo>
                      <a:lnTo>
                        <a:pt x="164" y="2"/>
                      </a:lnTo>
                      <a:lnTo>
                        <a:pt x="168" y="4"/>
                      </a:lnTo>
                      <a:lnTo>
                        <a:pt x="168" y="6"/>
                      </a:lnTo>
                      <a:lnTo>
                        <a:pt x="170" y="8"/>
                      </a:lnTo>
                      <a:lnTo>
                        <a:pt x="170" y="28"/>
                      </a:lnTo>
                      <a:lnTo>
                        <a:pt x="170" y="28"/>
                      </a:lnTo>
                      <a:lnTo>
                        <a:pt x="168" y="36"/>
                      </a:lnTo>
                      <a:lnTo>
                        <a:pt x="164" y="42"/>
                      </a:lnTo>
                      <a:lnTo>
                        <a:pt x="158" y="46"/>
                      </a:lnTo>
                      <a:lnTo>
                        <a:pt x="150" y="48"/>
                      </a:lnTo>
                      <a:lnTo>
                        <a:pt x="150" y="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1" name="Freeform 60"/>
                <p:cNvSpPr>
                  <a:spLocks/>
                </p:cNvSpPr>
                <p:nvPr/>
              </p:nvSpPr>
              <p:spPr bwMode="auto">
                <a:xfrm>
                  <a:off x="3632200" y="2801938"/>
                  <a:ext cx="28575" cy="73025"/>
                </a:xfrm>
                <a:custGeom>
                  <a:avLst/>
                  <a:gdLst>
                    <a:gd name="T0" fmla="*/ 8 w 18"/>
                    <a:gd name="T1" fmla="*/ 46 h 46"/>
                    <a:gd name="T2" fmla="*/ 8 w 18"/>
                    <a:gd name="T3" fmla="*/ 46 h 46"/>
                    <a:gd name="T4" fmla="*/ 6 w 18"/>
                    <a:gd name="T5" fmla="*/ 46 h 46"/>
                    <a:gd name="T6" fmla="*/ 4 w 18"/>
                    <a:gd name="T7" fmla="*/ 44 h 46"/>
                    <a:gd name="T8" fmla="*/ 2 w 18"/>
                    <a:gd name="T9" fmla="*/ 42 h 46"/>
                    <a:gd name="T10" fmla="*/ 0 w 18"/>
                    <a:gd name="T11" fmla="*/ 38 h 46"/>
                    <a:gd name="T12" fmla="*/ 0 w 18"/>
                    <a:gd name="T13" fmla="*/ 8 h 46"/>
                    <a:gd name="T14" fmla="*/ 0 w 18"/>
                    <a:gd name="T15" fmla="*/ 8 h 46"/>
                    <a:gd name="T16" fmla="*/ 2 w 18"/>
                    <a:gd name="T17" fmla="*/ 6 h 46"/>
                    <a:gd name="T18" fmla="*/ 4 w 18"/>
                    <a:gd name="T19" fmla="*/ 2 h 46"/>
                    <a:gd name="T20" fmla="*/ 6 w 18"/>
                    <a:gd name="T21" fmla="*/ 0 h 46"/>
                    <a:gd name="T22" fmla="*/ 8 w 18"/>
                    <a:gd name="T23" fmla="*/ 0 h 46"/>
                    <a:gd name="T24" fmla="*/ 8 w 18"/>
                    <a:gd name="T25" fmla="*/ 0 h 46"/>
                    <a:gd name="T26" fmla="*/ 12 w 18"/>
                    <a:gd name="T27" fmla="*/ 0 h 46"/>
                    <a:gd name="T28" fmla="*/ 14 w 18"/>
                    <a:gd name="T29" fmla="*/ 2 h 46"/>
                    <a:gd name="T30" fmla="*/ 16 w 18"/>
                    <a:gd name="T31" fmla="*/ 6 h 46"/>
                    <a:gd name="T32" fmla="*/ 18 w 18"/>
                    <a:gd name="T33" fmla="*/ 8 h 46"/>
                    <a:gd name="T34" fmla="*/ 18 w 18"/>
                    <a:gd name="T35" fmla="*/ 38 h 46"/>
                    <a:gd name="T36" fmla="*/ 18 w 18"/>
                    <a:gd name="T37" fmla="*/ 38 h 46"/>
                    <a:gd name="T38" fmla="*/ 16 w 18"/>
                    <a:gd name="T39" fmla="*/ 42 h 46"/>
                    <a:gd name="T40" fmla="*/ 14 w 18"/>
                    <a:gd name="T41" fmla="*/ 44 h 46"/>
                    <a:gd name="T42" fmla="*/ 12 w 18"/>
                    <a:gd name="T43" fmla="*/ 46 h 46"/>
                    <a:gd name="T44" fmla="*/ 8 w 18"/>
                    <a:gd name="T45" fmla="*/ 46 h 46"/>
                    <a:gd name="T46" fmla="*/ 8 w 18"/>
                    <a:gd name="T47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8" h="46">
                      <a:moveTo>
                        <a:pt x="8" y="46"/>
                      </a:moveTo>
                      <a:lnTo>
                        <a:pt x="8" y="46"/>
                      </a:lnTo>
                      <a:lnTo>
                        <a:pt x="6" y="46"/>
                      </a:lnTo>
                      <a:lnTo>
                        <a:pt x="4" y="44"/>
                      </a:lnTo>
                      <a:lnTo>
                        <a:pt x="2" y="42"/>
                      </a:lnTo>
                      <a:lnTo>
                        <a:pt x="0" y="3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6" y="42"/>
                      </a:lnTo>
                      <a:lnTo>
                        <a:pt x="14" y="44"/>
                      </a:lnTo>
                      <a:lnTo>
                        <a:pt x="12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50" name="Group 47"/>
            <p:cNvGrpSpPr/>
            <p:nvPr/>
          </p:nvGrpSpPr>
          <p:grpSpPr>
            <a:xfrm>
              <a:off x="2049938" y="5402557"/>
              <a:ext cx="564063" cy="564063"/>
              <a:chOff x="2046539" y="2087882"/>
              <a:chExt cx="564063" cy="564063"/>
            </a:xfrm>
          </p:grpSpPr>
          <p:sp>
            <p:nvSpPr>
              <p:cNvPr id="49" name="Rounded Rectangle 48"/>
              <p:cNvSpPr/>
              <p:nvPr/>
            </p:nvSpPr>
            <p:spPr>
              <a:xfrm>
                <a:off x="2046539" y="2087882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marL="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7887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57756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436634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915510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394388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873265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352143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831021" algn="l" defTabSz="957756" rtl="0" eaLnBrk="1" latinLnBrk="0" hangingPunct="1">
                  <a:defRPr sz="19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IN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56" name="Group 49"/>
              <p:cNvGrpSpPr/>
              <p:nvPr/>
            </p:nvGrpSpPr>
            <p:grpSpPr>
              <a:xfrm>
                <a:off x="2107643" y="2161223"/>
                <a:ext cx="428625" cy="422275"/>
                <a:chOff x="2311400" y="3729038"/>
                <a:chExt cx="428625" cy="422275"/>
              </a:xfrm>
            </p:grpSpPr>
            <p:sp>
              <p:nvSpPr>
                <p:cNvPr id="51" name="Freeform 50"/>
                <p:cNvSpPr>
                  <a:spLocks/>
                </p:cNvSpPr>
                <p:nvPr/>
              </p:nvSpPr>
              <p:spPr bwMode="auto">
                <a:xfrm>
                  <a:off x="2473325" y="3776663"/>
                  <a:ext cx="127000" cy="206375"/>
                </a:xfrm>
                <a:custGeom>
                  <a:avLst/>
                  <a:gdLst>
                    <a:gd name="T0" fmla="*/ 30 w 80"/>
                    <a:gd name="T1" fmla="*/ 116 h 130"/>
                    <a:gd name="T2" fmla="*/ 16 w 80"/>
                    <a:gd name="T3" fmla="*/ 114 h 130"/>
                    <a:gd name="T4" fmla="*/ 0 w 80"/>
                    <a:gd name="T5" fmla="*/ 106 h 130"/>
                    <a:gd name="T6" fmla="*/ 10 w 80"/>
                    <a:gd name="T7" fmla="*/ 92 h 130"/>
                    <a:gd name="T8" fmla="*/ 24 w 80"/>
                    <a:gd name="T9" fmla="*/ 96 h 130"/>
                    <a:gd name="T10" fmla="*/ 36 w 80"/>
                    <a:gd name="T11" fmla="*/ 98 h 130"/>
                    <a:gd name="T12" fmla="*/ 50 w 80"/>
                    <a:gd name="T13" fmla="*/ 96 h 130"/>
                    <a:gd name="T14" fmla="*/ 56 w 80"/>
                    <a:gd name="T15" fmla="*/ 88 h 130"/>
                    <a:gd name="T16" fmla="*/ 56 w 80"/>
                    <a:gd name="T17" fmla="*/ 84 h 130"/>
                    <a:gd name="T18" fmla="*/ 48 w 80"/>
                    <a:gd name="T19" fmla="*/ 76 h 130"/>
                    <a:gd name="T20" fmla="*/ 36 w 80"/>
                    <a:gd name="T21" fmla="*/ 72 h 130"/>
                    <a:gd name="T22" fmla="*/ 14 w 80"/>
                    <a:gd name="T23" fmla="*/ 62 h 130"/>
                    <a:gd name="T24" fmla="*/ 6 w 80"/>
                    <a:gd name="T25" fmla="*/ 54 h 130"/>
                    <a:gd name="T26" fmla="*/ 2 w 80"/>
                    <a:gd name="T27" fmla="*/ 44 h 130"/>
                    <a:gd name="T28" fmla="*/ 4 w 80"/>
                    <a:gd name="T29" fmla="*/ 34 h 130"/>
                    <a:gd name="T30" fmla="*/ 20 w 80"/>
                    <a:gd name="T31" fmla="*/ 20 h 130"/>
                    <a:gd name="T32" fmla="*/ 32 w 80"/>
                    <a:gd name="T33" fmla="*/ 0 h 130"/>
                    <a:gd name="T34" fmla="*/ 50 w 80"/>
                    <a:gd name="T35" fmla="*/ 16 h 130"/>
                    <a:gd name="T36" fmla="*/ 62 w 80"/>
                    <a:gd name="T37" fmla="*/ 16 h 130"/>
                    <a:gd name="T38" fmla="*/ 76 w 80"/>
                    <a:gd name="T39" fmla="*/ 22 h 130"/>
                    <a:gd name="T40" fmla="*/ 66 w 80"/>
                    <a:gd name="T41" fmla="*/ 36 h 130"/>
                    <a:gd name="T42" fmla="*/ 58 w 80"/>
                    <a:gd name="T43" fmla="*/ 34 h 130"/>
                    <a:gd name="T44" fmla="*/ 44 w 80"/>
                    <a:gd name="T45" fmla="*/ 32 h 130"/>
                    <a:gd name="T46" fmla="*/ 30 w 80"/>
                    <a:gd name="T47" fmla="*/ 34 h 130"/>
                    <a:gd name="T48" fmla="*/ 26 w 80"/>
                    <a:gd name="T49" fmla="*/ 42 h 130"/>
                    <a:gd name="T50" fmla="*/ 28 w 80"/>
                    <a:gd name="T51" fmla="*/ 46 h 130"/>
                    <a:gd name="T52" fmla="*/ 48 w 80"/>
                    <a:gd name="T53" fmla="*/ 56 h 130"/>
                    <a:gd name="T54" fmla="*/ 60 w 80"/>
                    <a:gd name="T55" fmla="*/ 60 h 130"/>
                    <a:gd name="T56" fmla="*/ 74 w 80"/>
                    <a:gd name="T57" fmla="*/ 70 h 130"/>
                    <a:gd name="T58" fmla="*/ 78 w 80"/>
                    <a:gd name="T59" fmla="*/ 80 h 130"/>
                    <a:gd name="T60" fmla="*/ 80 w 80"/>
                    <a:gd name="T61" fmla="*/ 86 h 130"/>
                    <a:gd name="T62" fmla="*/ 72 w 80"/>
                    <a:gd name="T63" fmla="*/ 104 h 130"/>
                    <a:gd name="T64" fmla="*/ 50 w 80"/>
                    <a:gd name="T65" fmla="*/ 114 h 130"/>
                    <a:gd name="T66" fmla="*/ 30 w 80"/>
                    <a:gd name="T67" fmla="*/ 13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80" h="130">
                      <a:moveTo>
                        <a:pt x="30" y="130"/>
                      </a:moveTo>
                      <a:lnTo>
                        <a:pt x="30" y="116"/>
                      </a:lnTo>
                      <a:lnTo>
                        <a:pt x="30" y="116"/>
                      </a:lnTo>
                      <a:lnTo>
                        <a:pt x="16" y="114"/>
                      </a:lnTo>
                      <a:lnTo>
                        <a:pt x="2" y="108"/>
                      </a:lnTo>
                      <a:lnTo>
                        <a:pt x="0" y="106"/>
                      </a:lnTo>
                      <a:lnTo>
                        <a:pt x="8" y="90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24" y="96"/>
                      </a:lnTo>
                      <a:lnTo>
                        <a:pt x="36" y="98"/>
                      </a:lnTo>
                      <a:lnTo>
                        <a:pt x="36" y="98"/>
                      </a:lnTo>
                      <a:lnTo>
                        <a:pt x="44" y="98"/>
                      </a:lnTo>
                      <a:lnTo>
                        <a:pt x="50" y="96"/>
                      </a:lnTo>
                      <a:lnTo>
                        <a:pt x="54" y="92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4"/>
                      </a:lnTo>
                      <a:lnTo>
                        <a:pt x="52" y="80"/>
                      </a:lnTo>
                      <a:lnTo>
                        <a:pt x="48" y="76"/>
                      </a:lnTo>
                      <a:lnTo>
                        <a:pt x="36" y="72"/>
                      </a:lnTo>
                      <a:lnTo>
                        <a:pt x="36" y="72"/>
                      </a:lnTo>
                      <a:lnTo>
                        <a:pt x="24" y="68"/>
                      </a:lnTo>
                      <a:lnTo>
                        <a:pt x="14" y="62"/>
                      </a:lnTo>
                      <a:lnTo>
                        <a:pt x="8" y="58"/>
                      </a:lnTo>
                      <a:lnTo>
                        <a:pt x="6" y="54"/>
                      </a:lnTo>
                      <a:lnTo>
                        <a:pt x="4" y="48"/>
                      </a:lnTo>
                      <a:lnTo>
                        <a:pt x="2" y="44"/>
                      </a:lnTo>
                      <a:lnTo>
                        <a:pt x="2" y="44"/>
                      </a:lnTo>
                      <a:lnTo>
                        <a:pt x="4" y="34"/>
                      </a:lnTo>
                      <a:lnTo>
                        <a:pt x="10" y="26"/>
                      </a:lnTo>
                      <a:lnTo>
                        <a:pt x="20" y="20"/>
                      </a:lnTo>
                      <a:lnTo>
                        <a:pt x="32" y="16"/>
                      </a:lnTo>
                      <a:lnTo>
                        <a:pt x="32" y="0"/>
                      </a:lnTo>
                      <a:lnTo>
                        <a:pt x="50" y="0"/>
                      </a:lnTo>
                      <a:lnTo>
                        <a:pt x="50" y="16"/>
                      </a:lnTo>
                      <a:lnTo>
                        <a:pt x="50" y="16"/>
                      </a:lnTo>
                      <a:lnTo>
                        <a:pt x="62" y="16"/>
                      </a:lnTo>
                      <a:lnTo>
                        <a:pt x="74" y="20"/>
                      </a:lnTo>
                      <a:lnTo>
                        <a:pt x="76" y="22"/>
                      </a:lnTo>
                      <a:lnTo>
                        <a:pt x="68" y="38"/>
                      </a:lnTo>
                      <a:lnTo>
                        <a:pt x="66" y="36"/>
                      </a:lnTo>
                      <a:lnTo>
                        <a:pt x="66" y="36"/>
                      </a:lnTo>
                      <a:lnTo>
                        <a:pt x="58" y="34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36" y="32"/>
                      </a:lnTo>
                      <a:lnTo>
                        <a:pt x="30" y="34"/>
                      </a:lnTo>
                      <a:lnTo>
                        <a:pt x="26" y="38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8" y="46"/>
                      </a:lnTo>
                      <a:lnTo>
                        <a:pt x="30" y="48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60" y="60"/>
                      </a:lnTo>
                      <a:lnTo>
                        <a:pt x="70" y="66"/>
                      </a:lnTo>
                      <a:lnTo>
                        <a:pt x="74" y="70"/>
                      </a:lnTo>
                      <a:lnTo>
                        <a:pt x="76" y="74"/>
                      </a:lnTo>
                      <a:lnTo>
                        <a:pt x="78" y="80"/>
                      </a:lnTo>
                      <a:lnTo>
                        <a:pt x="80" y="86"/>
                      </a:lnTo>
                      <a:lnTo>
                        <a:pt x="80" y="86"/>
                      </a:lnTo>
                      <a:lnTo>
                        <a:pt x="78" y="94"/>
                      </a:lnTo>
                      <a:lnTo>
                        <a:pt x="72" y="104"/>
                      </a:lnTo>
                      <a:lnTo>
                        <a:pt x="62" y="110"/>
                      </a:lnTo>
                      <a:lnTo>
                        <a:pt x="50" y="114"/>
                      </a:lnTo>
                      <a:lnTo>
                        <a:pt x="50" y="130"/>
                      </a:lnTo>
                      <a:lnTo>
                        <a:pt x="30" y="13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2" name="Freeform 51"/>
                <p:cNvSpPr>
                  <a:spLocks/>
                </p:cNvSpPr>
                <p:nvPr/>
              </p:nvSpPr>
              <p:spPr bwMode="auto">
                <a:xfrm>
                  <a:off x="2311400" y="3983038"/>
                  <a:ext cx="428625" cy="168275"/>
                </a:xfrm>
                <a:custGeom>
                  <a:avLst/>
                  <a:gdLst>
                    <a:gd name="T0" fmla="*/ 144 w 270"/>
                    <a:gd name="T1" fmla="*/ 106 h 106"/>
                    <a:gd name="T2" fmla="*/ 118 w 270"/>
                    <a:gd name="T3" fmla="*/ 104 h 106"/>
                    <a:gd name="T4" fmla="*/ 92 w 270"/>
                    <a:gd name="T5" fmla="*/ 96 h 106"/>
                    <a:gd name="T6" fmla="*/ 68 w 270"/>
                    <a:gd name="T7" fmla="*/ 84 h 106"/>
                    <a:gd name="T8" fmla="*/ 48 w 270"/>
                    <a:gd name="T9" fmla="*/ 66 h 106"/>
                    <a:gd name="T10" fmla="*/ 8 w 270"/>
                    <a:gd name="T11" fmla="*/ 66 h 106"/>
                    <a:gd name="T12" fmla="*/ 2 w 270"/>
                    <a:gd name="T13" fmla="*/ 64 h 106"/>
                    <a:gd name="T14" fmla="*/ 0 w 270"/>
                    <a:gd name="T15" fmla="*/ 58 h 106"/>
                    <a:gd name="T16" fmla="*/ 0 w 270"/>
                    <a:gd name="T17" fmla="*/ 54 h 106"/>
                    <a:gd name="T18" fmla="*/ 6 w 270"/>
                    <a:gd name="T19" fmla="*/ 50 h 106"/>
                    <a:gd name="T20" fmla="*/ 8 w 270"/>
                    <a:gd name="T21" fmla="*/ 48 h 106"/>
                    <a:gd name="T22" fmla="*/ 58 w 270"/>
                    <a:gd name="T23" fmla="*/ 52 h 106"/>
                    <a:gd name="T24" fmla="*/ 70 w 270"/>
                    <a:gd name="T25" fmla="*/ 64 h 106"/>
                    <a:gd name="T26" fmla="*/ 100 w 270"/>
                    <a:gd name="T27" fmla="*/ 82 h 106"/>
                    <a:gd name="T28" fmla="*/ 134 w 270"/>
                    <a:gd name="T29" fmla="*/ 88 h 106"/>
                    <a:gd name="T30" fmla="*/ 170 w 270"/>
                    <a:gd name="T31" fmla="*/ 86 h 106"/>
                    <a:gd name="T32" fmla="*/ 186 w 270"/>
                    <a:gd name="T33" fmla="*/ 82 h 106"/>
                    <a:gd name="T34" fmla="*/ 224 w 270"/>
                    <a:gd name="T35" fmla="*/ 56 h 106"/>
                    <a:gd name="T36" fmla="*/ 250 w 270"/>
                    <a:gd name="T37" fmla="*/ 20 h 106"/>
                    <a:gd name="T38" fmla="*/ 244 w 270"/>
                    <a:gd name="T39" fmla="*/ 18 h 106"/>
                    <a:gd name="T40" fmla="*/ 240 w 270"/>
                    <a:gd name="T41" fmla="*/ 16 h 106"/>
                    <a:gd name="T42" fmla="*/ 234 w 270"/>
                    <a:gd name="T43" fmla="*/ 24 h 106"/>
                    <a:gd name="T44" fmla="*/ 232 w 270"/>
                    <a:gd name="T45" fmla="*/ 26 h 106"/>
                    <a:gd name="T46" fmla="*/ 212 w 270"/>
                    <a:gd name="T47" fmla="*/ 48 h 106"/>
                    <a:gd name="T48" fmla="*/ 184 w 270"/>
                    <a:gd name="T49" fmla="*/ 66 h 106"/>
                    <a:gd name="T50" fmla="*/ 170 w 270"/>
                    <a:gd name="T51" fmla="*/ 70 h 106"/>
                    <a:gd name="T52" fmla="*/ 140 w 270"/>
                    <a:gd name="T53" fmla="*/ 72 h 106"/>
                    <a:gd name="T54" fmla="*/ 126 w 270"/>
                    <a:gd name="T55" fmla="*/ 72 h 106"/>
                    <a:gd name="T56" fmla="*/ 120 w 270"/>
                    <a:gd name="T57" fmla="*/ 68 h 106"/>
                    <a:gd name="T58" fmla="*/ 118 w 270"/>
                    <a:gd name="T59" fmla="*/ 62 h 106"/>
                    <a:gd name="T60" fmla="*/ 120 w 270"/>
                    <a:gd name="T61" fmla="*/ 58 h 106"/>
                    <a:gd name="T62" fmla="*/ 126 w 270"/>
                    <a:gd name="T63" fmla="*/ 54 h 106"/>
                    <a:gd name="T64" fmla="*/ 128 w 270"/>
                    <a:gd name="T65" fmla="*/ 54 h 106"/>
                    <a:gd name="T66" fmla="*/ 154 w 270"/>
                    <a:gd name="T67" fmla="*/ 56 h 106"/>
                    <a:gd name="T68" fmla="*/ 178 w 270"/>
                    <a:gd name="T69" fmla="*/ 50 h 106"/>
                    <a:gd name="T70" fmla="*/ 190 w 270"/>
                    <a:gd name="T71" fmla="*/ 44 h 106"/>
                    <a:gd name="T72" fmla="*/ 210 w 270"/>
                    <a:gd name="T73" fmla="*/ 26 h 106"/>
                    <a:gd name="T74" fmla="*/ 218 w 270"/>
                    <a:gd name="T75" fmla="*/ 16 h 106"/>
                    <a:gd name="T76" fmla="*/ 228 w 270"/>
                    <a:gd name="T77" fmla="*/ 4 h 106"/>
                    <a:gd name="T78" fmla="*/ 238 w 270"/>
                    <a:gd name="T79" fmla="*/ 0 h 106"/>
                    <a:gd name="T80" fmla="*/ 248 w 270"/>
                    <a:gd name="T81" fmla="*/ 0 h 106"/>
                    <a:gd name="T82" fmla="*/ 266 w 270"/>
                    <a:gd name="T83" fmla="*/ 10 h 106"/>
                    <a:gd name="T84" fmla="*/ 268 w 270"/>
                    <a:gd name="T85" fmla="*/ 20 h 106"/>
                    <a:gd name="T86" fmla="*/ 262 w 270"/>
                    <a:gd name="T87" fmla="*/ 32 h 106"/>
                    <a:gd name="T88" fmla="*/ 248 w 270"/>
                    <a:gd name="T89" fmla="*/ 56 h 106"/>
                    <a:gd name="T90" fmla="*/ 228 w 270"/>
                    <a:gd name="T91" fmla="*/ 76 h 106"/>
                    <a:gd name="T92" fmla="*/ 206 w 270"/>
                    <a:gd name="T93" fmla="*/ 92 h 106"/>
                    <a:gd name="T94" fmla="*/ 192 w 270"/>
                    <a:gd name="T95" fmla="*/ 98 h 106"/>
                    <a:gd name="T96" fmla="*/ 168 w 270"/>
                    <a:gd name="T97" fmla="*/ 104 h 106"/>
                    <a:gd name="T98" fmla="*/ 144 w 270"/>
                    <a:gd name="T99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70" h="106">
                      <a:moveTo>
                        <a:pt x="144" y="106"/>
                      </a:moveTo>
                      <a:lnTo>
                        <a:pt x="144" y="106"/>
                      </a:lnTo>
                      <a:lnTo>
                        <a:pt x="130" y="106"/>
                      </a:lnTo>
                      <a:lnTo>
                        <a:pt x="118" y="104"/>
                      </a:lnTo>
                      <a:lnTo>
                        <a:pt x="104" y="100"/>
                      </a:lnTo>
                      <a:lnTo>
                        <a:pt x="92" y="96"/>
                      </a:lnTo>
                      <a:lnTo>
                        <a:pt x="80" y="90"/>
                      </a:lnTo>
                      <a:lnTo>
                        <a:pt x="68" y="84"/>
                      </a:lnTo>
                      <a:lnTo>
                        <a:pt x="58" y="76"/>
                      </a:lnTo>
                      <a:lnTo>
                        <a:pt x="48" y="66"/>
                      </a:lnTo>
                      <a:lnTo>
                        <a:pt x="8" y="66"/>
                      </a:lnTo>
                      <a:lnTo>
                        <a:pt x="8" y="66"/>
                      </a:lnTo>
                      <a:lnTo>
                        <a:pt x="6" y="64"/>
                      </a:lnTo>
                      <a:lnTo>
                        <a:pt x="2" y="64"/>
                      </a:lnTo>
                      <a:lnTo>
                        <a:pt x="0" y="60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2" y="52"/>
                      </a:lnTo>
                      <a:lnTo>
                        <a:pt x="6" y="50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56" y="48"/>
                      </a:lnTo>
                      <a:lnTo>
                        <a:pt x="58" y="52"/>
                      </a:lnTo>
                      <a:lnTo>
                        <a:pt x="58" y="52"/>
                      </a:lnTo>
                      <a:lnTo>
                        <a:pt x="70" y="64"/>
                      </a:lnTo>
                      <a:lnTo>
                        <a:pt x="86" y="74"/>
                      </a:lnTo>
                      <a:lnTo>
                        <a:pt x="100" y="82"/>
                      </a:lnTo>
                      <a:lnTo>
                        <a:pt x="118" y="86"/>
                      </a:lnTo>
                      <a:lnTo>
                        <a:pt x="134" y="88"/>
                      </a:lnTo>
                      <a:lnTo>
                        <a:pt x="152" y="90"/>
                      </a:lnTo>
                      <a:lnTo>
                        <a:pt x="170" y="86"/>
                      </a:lnTo>
                      <a:lnTo>
                        <a:pt x="186" y="82"/>
                      </a:lnTo>
                      <a:lnTo>
                        <a:pt x="186" y="82"/>
                      </a:lnTo>
                      <a:lnTo>
                        <a:pt x="206" y="70"/>
                      </a:lnTo>
                      <a:lnTo>
                        <a:pt x="224" y="56"/>
                      </a:lnTo>
                      <a:lnTo>
                        <a:pt x="238" y="40"/>
                      </a:lnTo>
                      <a:lnTo>
                        <a:pt x="250" y="20"/>
                      </a:lnTo>
                      <a:lnTo>
                        <a:pt x="250" y="20"/>
                      </a:lnTo>
                      <a:lnTo>
                        <a:pt x="244" y="18"/>
                      </a:lnTo>
                      <a:lnTo>
                        <a:pt x="240" y="16"/>
                      </a:lnTo>
                      <a:lnTo>
                        <a:pt x="240" y="16"/>
                      </a:lnTo>
                      <a:lnTo>
                        <a:pt x="236" y="20"/>
                      </a:lnTo>
                      <a:lnTo>
                        <a:pt x="234" y="24"/>
                      </a:lnTo>
                      <a:lnTo>
                        <a:pt x="232" y="26"/>
                      </a:lnTo>
                      <a:lnTo>
                        <a:pt x="232" y="26"/>
                      </a:lnTo>
                      <a:lnTo>
                        <a:pt x="222" y="38"/>
                      </a:lnTo>
                      <a:lnTo>
                        <a:pt x="212" y="48"/>
                      </a:lnTo>
                      <a:lnTo>
                        <a:pt x="198" y="58"/>
                      </a:lnTo>
                      <a:lnTo>
                        <a:pt x="184" y="66"/>
                      </a:lnTo>
                      <a:lnTo>
                        <a:pt x="184" y="66"/>
                      </a:lnTo>
                      <a:lnTo>
                        <a:pt x="170" y="70"/>
                      </a:lnTo>
                      <a:lnTo>
                        <a:pt x="156" y="72"/>
                      </a:lnTo>
                      <a:lnTo>
                        <a:pt x="140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2" y="70"/>
                      </a:lnTo>
                      <a:lnTo>
                        <a:pt x="120" y="68"/>
                      </a:lnTo>
                      <a:lnTo>
                        <a:pt x="118" y="66"/>
                      </a:lnTo>
                      <a:lnTo>
                        <a:pt x="118" y="62"/>
                      </a:lnTo>
                      <a:lnTo>
                        <a:pt x="118" y="62"/>
                      </a:lnTo>
                      <a:lnTo>
                        <a:pt x="120" y="58"/>
                      </a:lnTo>
                      <a:lnTo>
                        <a:pt x="122" y="56"/>
                      </a:lnTo>
                      <a:lnTo>
                        <a:pt x="126" y="54"/>
                      </a:lnTo>
                      <a:lnTo>
                        <a:pt x="128" y="54"/>
                      </a:lnTo>
                      <a:lnTo>
                        <a:pt x="128" y="54"/>
                      </a:lnTo>
                      <a:lnTo>
                        <a:pt x="140" y="56"/>
                      </a:lnTo>
                      <a:lnTo>
                        <a:pt x="154" y="56"/>
                      </a:lnTo>
                      <a:lnTo>
                        <a:pt x="166" y="54"/>
                      </a:lnTo>
                      <a:lnTo>
                        <a:pt x="178" y="50"/>
                      </a:lnTo>
                      <a:lnTo>
                        <a:pt x="178" y="50"/>
                      </a:lnTo>
                      <a:lnTo>
                        <a:pt x="190" y="44"/>
                      </a:lnTo>
                      <a:lnTo>
                        <a:pt x="200" y="36"/>
                      </a:lnTo>
                      <a:lnTo>
                        <a:pt x="210" y="26"/>
                      </a:lnTo>
                      <a:lnTo>
                        <a:pt x="218" y="16"/>
                      </a:lnTo>
                      <a:lnTo>
                        <a:pt x="218" y="16"/>
                      </a:lnTo>
                      <a:lnTo>
                        <a:pt x="222" y="10"/>
                      </a:lnTo>
                      <a:lnTo>
                        <a:pt x="228" y="4"/>
                      </a:lnTo>
                      <a:lnTo>
                        <a:pt x="232" y="2"/>
                      </a:lnTo>
                      <a:lnTo>
                        <a:pt x="238" y="0"/>
                      </a:lnTo>
                      <a:lnTo>
                        <a:pt x="238" y="0"/>
                      </a:lnTo>
                      <a:lnTo>
                        <a:pt x="248" y="0"/>
                      </a:lnTo>
                      <a:lnTo>
                        <a:pt x="256" y="4"/>
                      </a:lnTo>
                      <a:lnTo>
                        <a:pt x="266" y="10"/>
                      </a:lnTo>
                      <a:lnTo>
                        <a:pt x="270" y="14"/>
                      </a:lnTo>
                      <a:lnTo>
                        <a:pt x="268" y="20"/>
                      </a:lnTo>
                      <a:lnTo>
                        <a:pt x="268" y="20"/>
                      </a:lnTo>
                      <a:lnTo>
                        <a:pt x="262" y="32"/>
                      </a:lnTo>
                      <a:lnTo>
                        <a:pt x="256" y="44"/>
                      </a:lnTo>
                      <a:lnTo>
                        <a:pt x="248" y="56"/>
                      </a:lnTo>
                      <a:lnTo>
                        <a:pt x="238" y="66"/>
                      </a:lnTo>
                      <a:lnTo>
                        <a:pt x="228" y="76"/>
                      </a:lnTo>
                      <a:lnTo>
                        <a:pt x="218" y="84"/>
                      </a:lnTo>
                      <a:lnTo>
                        <a:pt x="206" y="92"/>
                      </a:lnTo>
                      <a:lnTo>
                        <a:pt x="192" y="98"/>
                      </a:lnTo>
                      <a:lnTo>
                        <a:pt x="192" y="98"/>
                      </a:lnTo>
                      <a:lnTo>
                        <a:pt x="180" y="102"/>
                      </a:lnTo>
                      <a:lnTo>
                        <a:pt x="168" y="104"/>
                      </a:lnTo>
                      <a:lnTo>
                        <a:pt x="144" y="106"/>
                      </a:lnTo>
                      <a:lnTo>
                        <a:pt x="144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3" name="Freeform 52"/>
                <p:cNvSpPr>
                  <a:spLocks/>
                </p:cNvSpPr>
                <p:nvPr/>
              </p:nvSpPr>
              <p:spPr bwMode="auto">
                <a:xfrm>
                  <a:off x="2314575" y="3973513"/>
                  <a:ext cx="301625" cy="111125"/>
                </a:xfrm>
                <a:custGeom>
                  <a:avLst/>
                  <a:gdLst>
                    <a:gd name="T0" fmla="*/ 180 w 190"/>
                    <a:gd name="T1" fmla="*/ 70 h 70"/>
                    <a:gd name="T2" fmla="*/ 176 w 190"/>
                    <a:gd name="T3" fmla="*/ 68 h 70"/>
                    <a:gd name="T4" fmla="*/ 172 w 190"/>
                    <a:gd name="T5" fmla="*/ 64 h 70"/>
                    <a:gd name="T6" fmla="*/ 172 w 190"/>
                    <a:gd name="T7" fmla="*/ 58 h 70"/>
                    <a:gd name="T8" fmla="*/ 174 w 190"/>
                    <a:gd name="T9" fmla="*/ 52 h 70"/>
                    <a:gd name="T10" fmla="*/ 174 w 190"/>
                    <a:gd name="T11" fmla="*/ 48 h 70"/>
                    <a:gd name="T12" fmla="*/ 164 w 190"/>
                    <a:gd name="T13" fmla="*/ 42 h 70"/>
                    <a:gd name="T14" fmla="*/ 154 w 190"/>
                    <a:gd name="T15" fmla="*/ 46 h 70"/>
                    <a:gd name="T16" fmla="*/ 134 w 190"/>
                    <a:gd name="T17" fmla="*/ 46 h 70"/>
                    <a:gd name="T18" fmla="*/ 120 w 190"/>
                    <a:gd name="T19" fmla="*/ 42 h 70"/>
                    <a:gd name="T20" fmla="*/ 112 w 190"/>
                    <a:gd name="T21" fmla="*/ 34 h 70"/>
                    <a:gd name="T22" fmla="*/ 100 w 190"/>
                    <a:gd name="T23" fmla="*/ 24 h 70"/>
                    <a:gd name="T24" fmla="*/ 88 w 190"/>
                    <a:gd name="T25" fmla="*/ 16 h 70"/>
                    <a:gd name="T26" fmla="*/ 76 w 190"/>
                    <a:gd name="T27" fmla="*/ 16 h 70"/>
                    <a:gd name="T28" fmla="*/ 60 w 190"/>
                    <a:gd name="T29" fmla="*/ 22 h 70"/>
                    <a:gd name="T30" fmla="*/ 8 w 190"/>
                    <a:gd name="T31" fmla="*/ 22 h 70"/>
                    <a:gd name="T32" fmla="*/ 4 w 190"/>
                    <a:gd name="T33" fmla="*/ 22 h 70"/>
                    <a:gd name="T34" fmla="*/ 0 w 190"/>
                    <a:gd name="T35" fmla="*/ 18 h 70"/>
                    <a:gd name="T36" fmla="*/ 0 w 190"/>
                    <a:gd name="T37" fmla="*/ 14 h 70"/>
                    <a:gd name="T38" fmla="*/ 2 w 190"/>
                    <a:gd name="T39" fmla="*/ 8 h 70"/>
                    <a:gd name="T40" fmla="*/ 8 w 190"/>
                    <a:gd name="T41" fmla="*/ 6 h 70"/>
                    <a:gd name="T42" fmla="*/ 54 w 190"/>
                    <a:gd name="T43" fmla="*/ 6 h 70"/>
                    <a:gd name="T44" fmla="*/ 78 w 190"/>
                    <a:gd name="T45" fmla="*/ 0 h 70"/>
                    <a:gd name="T46" fmla="*/ 96 w 190"/>
                    <a:gd name="T47" fmla="*/ 2 h 70"/>
                    <a:gd name="T48" fmla="*/ 110 w 190"/>
                    <a:gd name="T49" fmla="*/ 10 h 70"/>
                    <a:gd name="T50" fmla="*/ 124 w 190"/>
                    <a:gd name="T51" fmla="*/ 24 h 70"/>
                    <a:gd name="T52" fmla="*/ 128 w 190"/>
                    <a:gd name="T53" fmla="*/ 28 h 70"/>
                    <a:gd name="T54" fmla="*/ 146 w 190"/>
                    <a:gd name="T55" fmla="*/ 30 h 70"/>
                    <a:gd name="T56" fmla="*/ 160 w 190"/>
                    <a:gd name="T57" fmla="*/ 26 h 70"/>
                    <a:gd name="T58" fmla="*/ 164 w 190"/>
                    <a:gd name="T59" fmla="*/ 26 h 70"/>
                    <a:gd name="T60" fmla="*/ 174 w 190"/>
                    <a:gd name="T61" fmla="*/ 28 h 70"/>
                    <a:gd name="T62" fmla="*/ 188 w 190"/>
                    <a:gd name="T63" fmla="*/ 40 h 70"/>
                    <a:gd name="T64" fmla="*/ 190 w 190"/>
                    <a:gd name="T65" fmla="*/ 44 h 70"/>
                    <a:gd name="T66" fmla="*/ 190 w 190"/>
                    <a:gd name="T67" fmla="*/ 56 h 70"/>
                    <a:gd name="T68" fmla="*/ 186 w 190"/>
                    <a:gd name="T69" fmla="*/ 66 h 70"/>
                    <a:gd name="T70" fmla="*/ 180 w 190"/>
                    <a:gd name="T71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0" h="70">
                      <a:moveTo>
                        <a:pt x="180" y="70"/>
                      </a:moveTo>
                      <a:lnTo>
                        <a:pt x="180" y="70"/>
                      </a:lnTo>
                      <a:lnTo>
                        <a:pt x="176" y="68"/>
                      </a:lnTo>
                      <a:lnTo>
                        <a:pt x="176" y="68"/>
                      </a:lnTo>
                      <a:lnTo>
                        <a:pt x="174" y="66"/>
                      </a:lnTo>
                      <a:lnTo>
                        <a:pt x="172" y="64"/>
                      </a:lnTo>
                      <a:lnTo>
                        <a:pt x="172" y="60"/>
                      </a:lnTo>
                      <a:lnTo>
                        <a:pt x="172" y="58"/>
                      </a:lnTo>
                      <a:lnTo>
                        <a:pt x="172" y="58"/>
                      </a:lnTo>
                      <a:lnTo>
                        <a:pt x="174" y="52"/>
                      </a:lnTo>
                      <a:lnTo>
                        <a:pt x="174" y="48"/>
                      </a:lnTo>
                      <a:lnTo>
                        <a:pt x="174" y="48"/>
                      </a:lnTo>
                      <a:lnTo>
                        <a:pt x="170" y="44"/>
                      </a:lnTo>
                      <a:lnTo>
                        <a:pt x="164" y="42"/>
                      </a:lnTo>
                      <a:lnTo>
                        <a:pt x="164" y="42"/>
                      </a:lnTo>
                      <a:lnTo>
                        <a:pt x="154" y="46"/>
                      </a:lnTo>
                      <a:lnTo>
                        <a:pt x="142" y="46"/>
                      </a:lnTo>
                      <a:lnTo>
                        <a:pt x="134" y="46"/>
                      </a:lnTo>
                      <a:lnTo>
                        <a:pt x="126" y="44"/>
                      </a:lnTo>
                      <a:lnTo>
                        <a:pt x="120" y="42"/>
                      </a:lnTo>
                      <a:lnTo>
                        <a:pt x="112" y="36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00" y="24"/>
                      </a:lnTo>
                      <a:lnTo>
                        <a:pt x="94" y="20"/>
                      </a:lnTo>
                      <a:lnTo>
                        <a:pt x="88" y="16"/>
                      </a:lnTo>
                      <a:lnTo>
                        <a:pt x="84" y="16"/>
                      </a:lnTo>
                      <a:lnTo>
                        <a:pt x="76" y="16"/>
                      </a:lnTo>
                      <a:lnTo>
                        <a:pt x="70" y="18"/>
                      </a:lnTo>
                      <a:lnTo>
                        <a:pt x="60" y="22"/>
                      </a:lnTo>
                      <a:lnTo>
                        <a:pt x="5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2" y="20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8" y="6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68" y="2"/>
                      </a:lnTo>
                      <a:lnTo>
                        <a:pt x="78" y="0"/>
                      </a:lnTo>
                      <a:lnTo>
                        <a:pt x="88" y="0"/>
                      </a:lnTo>
                      <a:lnTo>
                        <a:pt x="96" y="2"/>
                      </a:lnTo>
                      <a:lnTo>
                        <a:pt x="104" y="6"/>
                      </a:lnTo>
                      <a:lnTo>
                        <a:pt x="110" y="10"/>
                      </a:lnTo>
                      <a:lnTo>
                        <a:pt x="122" y="24"/>
                      </a:lnTo>
                      <a:lnTo>
                        <a:pt x="124" y="24"/>
                      </a:lnTo>
                      <a:lnTo>
                        <a:pt x="124" y="24"/>
                      </a:lnTo>
                      <a:lnTo>
                        <a:pt x="128" y="28"/>
                      </a:lnTo>
                      <a:lnTo>
                        <a:pt x="134" y="30"/>
                      </a:lnTo>
                      <a:lnTo>
                        <a:pt x="146" y="30"/>
                      </a:lnTo>
                      <a:lnTo>
                        <a:pt x="156" y="28"/>
                      </a:lnTo>
                      <a:lnTo>
                        <a:pt x="160" y="26"/>
                      </a:lnTo>
                      <a:lnTo>
                        <a:pt x="162" y="26"/>
                      </a:lnTo>
                      <a:lnTo>
                        <a:pt x="164" y="26"/>
                      </a:lnTo>
                      <a:lnTo>
                        <a:pt x="164" y="26"/>
                      </a:lnTo>
                      <a:lnTo>
                        <a:pt x="174" y="28"/>
                      </a:lnTo>
                      <a:lnTo>
                        <a:pt x="182" y="32"/>
                      </a:lnTo>
                      <a:lnTo>
                        <a:pt x="188" y="40"/>
                      </a:lnTo>
                      <a:lnTo>
                        <a:pt x="188" y="40"/>
                      </a:lnTo>
                      <a:lnTo>
                        <a:pt x="190" y="44"/>
                      </a:lnTo>
                      <a:lnTo>
                        <a:pt x="190" y="50"/>
                      </a:lnTo>
                      <a:lnTo>
                        <a:pt x="190" y="56"/>
                      </a:lnTo>
                      <a:lnTo>
                        <a:pt x="186" y="66"/>
                      </a:lnTo>
                      <a:lnTo>
                        <a:pt x="186" y="66"/>
                      </a:lnTo>
                      <a:lnTo>
                        <a:pt x="184" y="68"/>
                      </a:lnTo>
                      <a:lnTo>
                        <a:pt x="180" y="70"/>
                      </a:lnTo>
                      <a:lnTo>
                        <a:pt x="180" y="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4" name="Freeform 53"/>
                <p:cNvSpPr>
                  <a:spLocks/>
                </p:cNvSpPr>
                <p:nvPr/>
              </p:nvSpPr>
              <p:spPr bwMode="auto">
                <a:xfrm>
                  <a:off x="2381250" y="3729038"/>
                  <a:ext cx="307975" cy="288925"/>
                </a:xfrm>
                <a:custGeom>
                  <a:avLst/>
                  <a:gdLst>
                    <a:gd name="T0" fmla="*/ 186 w 194"/>
                    <a:gd name="T1" fmla="*/ 182 h 182"/>
                    <a:gd name="T2" fmla="*/ 186 w 194"/>
                    <a:gd name="T3" fmla="*/ 182 h 182"/>
                    <a:gd name="T4" fmla="*/ 182 w 194"/>
                    <a:gd name="T5" fmla="*/ 180 h 182"/>
                    <a:gd name="T6" fmla="*/ 180 w 194"/>
                    <a:gd name="T7" fmla="*/ 178 h 182"/>
                    <a:gd name="T8" fmla="*/ 178 w 194"/>
                    <a:gd name="T9" fmla="*/ 176 h 182"/>
                    <a:gd name="T10" fmla="*/ 178 w 194"/>
                    <a:gd name="T11" fmla="*/ 174 h 182"/>
                    <a:gd name="T12" fmla="*/ 178 w 194"/>
                    <a:gd name="T13" fmla="*/ 18 h 182"/>
                    <a:gd name="T14" fmla="*/ 16 w 194"/>
                    <a:gd name="T15" fmla="*/ 18 h 182"/>
                    <a:gd name="T16" fmla="*/ 16 w 194"/>
                    <a:gd name="T17" fmla="*/ 168 h 182"/>
                    <a:gd name="T18" fmla="*/ 16 w 194"/>
                    <a:gd name="T19" fmla="*/ 168 h 182"/>
                    <a:gd name="T20" fmla="*/ 14 w 194"/>
                    <a:gd name="T21" fmla="*/ 170 h 182"/>
                    <a:gd name="T22" fmla="*/ 14 w 194"/>
                    <a:gd name="T23" fmla="*/ 174 h 182"/>
                    <a:gd name="T24" fmla="*/ 10 w 194"/>
                    <a:gd name="T25" fmla="*/ 174 h 182"/>
                    <a:gd name="T26" fmla="*/ 8 w 194"/>
                    <a:gd name="T27" fmla="*/ 176 h 182"/>
                    <a:gd name="T28" fmla="*/ 8 w 194"/>
                    <a:gd name="T29" fmla="*/ 176 h 182"/>
                    <a:gd name="T30" fmla="*/ 4 w 194"/>
                    <a:gd name="T31" fmla="*/ 174 h 182"/>
                    <a:gd name="T32" fmla="*/ 2 w 194"/>
                    <a:gd name="T33" fmla="*/ 174 h 182"/>
                    <a:gd name="T34" fmla="*/ 0 w 194"/>
                    <a:gd name="T35" fmla="*/ 170 h 182"/>
                    <a:gd name="T36" fmla="*/ 0 w 194"/>
                    <a:gd name="T37" fmla="*/ 168 h 182"/>
                    <a:gd name="T38" fmla="*/ 0 w 194"/>
                    <a:gd name="T39" fmla="*/ 0 h 182"/>
                    <a:gd name="T40" fmla="*/ 194 w 194"/>
                    <a:gd name="T41" fmla="*/ 0 h 182"/>
                    <a:gd name="T42" fmla="*/ 194 w 194"/>
                    <a:gd name="T43" fmla="*/ 174 h 182"/>
                    <a:gd name="T44" fmla="*/ 194 w 194"/>
                    <a:gd name="T45" fmla="*/ 174 h 182"/>
                    <a:gd name="T46" fmla="*/ 192 w 194"/>
                    <a:gd name="T47" fmla="*/ 176 h 182"/>
                    <a:gd name="T48" fmla="*/ 192 w 194"/>
                    <a:gd name="T49" fmla="*/ 178 h 182"/>
                    <a:gd name="T50" fmla="*/ 188 w 194"/>
                    <a:gd name="T51" fmla="*/ 180 h 182"/>
                    <a:gd name="T52" fmla="*/ 186 w 194"/>
                    <a:gd name="T53" fmla="*/ 182 h 182"/>
                    <a:gd name="T54" fmla="*/ 186 w 194"/>
                    <a:gd name="T55" fmla="*/ 18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94" h="182">
                      <a:moveTo>
                        <a:pt x="186" y="182"/>
                      </a:moveTo>
                      <a:lnTo>
                        <a:pt x="186" y="182"/>
                      </a:lnTo>
                      <a:lnTo>
                        <a:pt x="182" y="180"/>
                      </a:lnTo>
                      <a:lnTo>
                        <a:pt x="180" y="178"/>
                      </a:lnTo>
                      <a:lnTo>
                        <a:pt x="178" y="176"/>
                      </a:lnTo>
                      <a:lnTo>
                        <a:pt x="178" y="174"/>
                      </a:lnTo>
                      <a:lnTo>
                        <a:pt x="178" y="18"/>
                      </a:lnTo>
                      <a:lnTo>
                        <a:pt x="16" y="18"/>
                      </a:lnTo>
                      <a:lnTo>
                        <a:pt x="16" y="168"/>
                      </a:lnTo>
                      <a:lnTo>
                        <a:pt x="16" y="168"/>
                      </a:lnTo>
                      <a:lnTo>
                        <a:pt x="14" y="170"/>
                      </a:lnTo>
                      <a:lnTo>
                        <a:pt x="14" y="174"/>
                      </a:lnTo>
                      <a:lnTo>
                        <a:pt x="10" y="174"/>
                      </a:lnTo>
                      <a:lnTo>
                        <a:pt x="8" y="176"/>
                      </a:lnTo>
                      <a:lnTo>
                        <a:pt x="8" y="176"/>
                      </a:lnTo>
                      <a:lnTo>
                        <a:pt x="4" y="174"/>
                      </a:lnTo>
                      <a:lnTo>
                        <a:pt x="2" y="174"/>
                      </a:lnTo>
                      <a:lnTo>
                        <a:pt x="0" y="170"/>
                      </a:lnTo>
                      <a:lnTo>
                        <a:pt x="0" y="168"/>
                      </a:lnTo>
                      <a:lnTo>
                        <a:pt x="0" y="0"/>
                      </a:lnTo>
                      <a:lnTo>
                        <a:pt x="194" y="0"/>
                      </a:lnTo>
                      <a:lnTo>
                        <a:pt x="194" y="174"/>
                      </a:lnTo>
                      <a:lnTo>
                        <a:pt x="194" y="174"/>
                      </a:lnTo>
                      <a:lnTo>
                        <a:pt x="192" y="176"/>
                      </a:lnTo>
                      <a:lnTo>
                        <a:pt x="192" y="178"/>
                      </a:lnTo>
                      <a:lnTo>
                        <a:pt x="188" y="180"/>
                      </a:lnTo>
                      <a:lnTo>
                        <a:pt x="186" y="182"/>
                      </a:lnTo>
                      <a:lnTo>
                        <a:pt x="186" y="18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7887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57756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6634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915510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394388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873265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352143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31021" algn="l" defTabSz="957756" rtl="0" eaLnBrk="1" latinLnBrk="0" hangingPunct="1">
                    <a:defRPr sz="1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IN" dirty="0">
                    <a:latin typeface="Calibri" panose="020F0502020204030204" pitchFamily="34" charset="0"/>
                  </a:endParaRPr>
                </a:p>
              </p:txBody>
            </p:sp>
          </p:grpSp>
        </p:grpSp>
      </p:grpSp>
      <p:sp>
        <p:nvSpPr>
          <p:cNvPr id="72" name="Rectangle 71"/>
          <p:cNvSpPr/>
          <p:nvPr/>
        </p:nvSpPr>
        <p:spPr>
          <a:xfrm>
            <a:off x="-1248000" y="-243000"/>
            <a:ext cx="12197068" cy="6897651"/>
          </a:xfrm>
          <a:prstGeom prst="rect">
            <a:avLst/>
          </a:prstGeom>
          <a:gradFill flip="none" rotWithShape="1">
            <a:gsLst>
              <a:gs pos="0">
                <a:schemeClr val="dk1">
                  <a:shade val="51000"/>
                  <a:satMod val="130000"/>
                </a:schemeClr>
              </a:gs>
              <a:gs pos="80000">
                <a:schemeClr val="dk1">
                  <a:shade val="93000"/>
                  <a:satMod val="130000"/>
                </a:schemeClr>
              </a:gs>
              <a:gs pos="100000">
                <a:schemeClr val="dk1">
                  <a:shade val="94000"/>
                  <a:satMod val="13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lIns="33059" tIns="42976" rIns="33059" bIns="42976" rtlCol="0" anchor="ctr"/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endParaRPr lang="en-GB" sz="1000" dirty="0">
              <a:solidFill>
                <a:schemeClr val="bg1"/>
              </a:solidFill>
              <a:latin typeface="Calibri" panose="020F0502020204030204" pitchFamily="34" charset="0"/>
              <a:cs typeface="Arial"/>
            </a:endParaRPr>
          </a:p>
        </p:txBody>
      </p:sp>
      <p:grpSp>
        <p:nvGrpSpPr>
          <p:cNvPr id="63" name="Group 2"/>
          <p:cNvGrpSpPr/>
          <p:nvPr/>
        </p:nvGrpSpPr>
        <p:grpSpPr>
          <a:xfrm>
            <a:off x="1494576" y="1701000"/>
            <a:ext cx="9202848" cy="3312000"/>
            <a:chOff x="1828800" y="2440942"/>
            <a:chExt cx="6556566" cy="2380886"/>
          </a:xfrm>
        </p:grpSpPr>
        <p:sp>
          <p:nvSpPr>
            <p:cNvPr id="74" name="Freeform 72"/>
            <p:cNvSpPr>
              <a:spLocks noEditPoints="1"/>
            </p:cNvSpPr>
            <p:nvPr/>
          </p:nvSpPr>
          <p:spPr bwMode="auto">
            <a:xfrm>
              <a:off x="2497168" y="2492792"/>
              <a:ext cx="541255" cy="541255"/>
            </a:xfrm>
            <a:custGeom>
              <a:avLst/>
              <a:gdLst>
                <a:gd name="T0" fmla="*/ 132 w 264"/>
                <a:gd name="T1" fmla="*/ 264 h 264"/>
                <a:gd name="T2" fmla="*/ 106 w 264"/>
                <a:gd name="T3" fmla="*/ 262 h 264"/>
                <a:gd name="T4" fmla="*/ 82 w 264"/>
                <a:gd name="T5" fmla="*/ 254 h 264"/>
                <a:gd name="T6" fmla="*/ 58 w 264"/>
                <a:gd name="T7" fmla="*/ 242 h 264"/>
                <a:gd name="T8" fmla="*/ 40 w 264"/>
                <a:gd name="T9" fmla="*/ 226 h 264"/>
                <a:gd name="T10" fmla="*/ 24 w 264"/>
                <a:gd name="T11" fmla="*/ 206 h 264"/>
                <a:gd name="T12" fmla="*/ 12 w 264"/>
                <a:gd name="T13" fmla="*/ 184 h 264"/>
                <a:gd name="T14" fmla="*/ 4 w 264"/>
                <a:gd name="T15" fmla="*/ 160 h 264"/>
                <a:gd name="T16" fmla="*/ 0 w 264"/>
                <a:gd name="T17" fmla="*/ 132 h 264"/>
                <a:gd name="T18" fmla="*/ 2 w 264"/>
                <a:gd name="T19" fmla="*/ 120 h 264"/>
                <a:gd name="T20" fmla="*/ 6 w 264"/>
                <a:gd name="T21" fmla="*/ 94 h 264"/>
                <a:gd name="T22" fmla="*/ 16 w 264"/>
                <a:gd name="T23" fmla="*/ 70 h 264"/>
                <a:gd name="T24" fmla="*/ 30 w 264"/>
                <a:gd name="T25" fmla="*/ 48 h 264"/>
                <a:gd name="T26" fmla="*/ 48 w 264"/>
                <a:gd name="T27" fmla="*/ 30 h 264"/>
                <a:gd name="T28" fmla="*/ 70 w 264"/>
                <a:gd name="T29" fmla="*/ 16 h 264"/>
                <a:gd name="T30" fmla="*/ 94 w 264"/>
                <a:gd name="T31" fmla="*/ 6 h 264"/>
                <a:gd name="T32" fmla="*/ 120 w 264"/>
                <a:gd name="T33" fmla="*/ 2 h 264"/>
                <a:gd name="T34" fmla="*/ 132 w 264"/>
                <a:gd name="T35" fmla="*/ 0 h 264"/>
                <a:gd name="T36" fmla="*/ 160 w 264"/>
                <a:gd name="T37" fmla="*/ 4 h 264"/>
                <a:gd name="T38" fmla="*/ 184 w 264"/>
                <a:gd name="T39" fmla="*/ 12 h 264"/>
                <a:gd name="T40" fmla="*/ 206 w 264"/>
                <a:gd name="T41" fmla="*/ 24 h 264"/>
                <a:gd name="T42" fmla="*/ 226 w 264"/>
                <a:gd name="T43" fmla="*/ 40 h 264"/>
                <a:gd name="T44" fmla="*/ 242 w 264"/>
                <a:gd name="T45" fmla="*/ 58 h 264"/>
                <a:gd name="T46" fmla="*/ 254 w 264"/>
                <a:gd name="T47" fmla="*/ 82 h 264"/>
                <a:gd name="T48" fmla="*/ 262 w 264"/>
                <a:gd name="T49" fmla="*/ 106 h 264"/>
                <a:gd name="T50" fmla="*/ 264 w 264"/>
                <a:gd name="T51" fmla="*/ 132 h 264"/>
                <a:gd name="T52" fmla="*/ 264 w 264"/>
                <a:gd name="T53" fmla="*/ 146 h 264"/>
                <a:gd name="T54" fmla="*/ 258 w 264"/>
                <a:gd name="T55" fmla="*/ 172 h 264"/>
                <a:gd name="T56" fmla="*/ 248 w 264"/>
                <a:gd name="T57" fmla="*/ 196 h 264"/>
                <a:gd name="T58" fmla="*/ 234 w 264"/>
                <a:gd name="T59" fmla="*/ 216 h 264"/>
                <a:gd name="T60" fmla="*/ 216 w 264"/>
                <a:gd name="T61" fmla="*/ 234 h 264"/>
                <a:gd name="T62" fmla="*/ 196 w 264"/>
                <a:gd name="T63" fmla="*/ 248 h 264"/>
                <a:gd name="T64" fmla="*/ 172 w 264"/>
                <a:gd name="T65" fmla="*/ 258 h 264"/>
                <a:gd name="T66" fmla="*/ 146 w 264"/>
                <a:gd name="T67" fmla="*/ 264 h 264"/>
                <a:gd name="T68" fmla="*/ 132 w 264"/>
                <a:gd name="T69" fmla="*/ 264 h 264"/>
                <a:gd name="T70" fmla="*/ 132 w 264"/>
                <a:gd name="T71" fmla="*/ 18 h 264"/>
                <a:gd name="T72" fmla="*/ 88 w 264"/>
                <a:gd name="T73" fmla="*/ 28 h 264"/>
                <a:gd name="T74" fmla="*/ 52 w 264"/>
                <a:gd name="T75" fmla="*/ 52 h 264"/>
                <a:gd name="T76" fmla="*/ 26 w 264"/>
                <a:gd name="T77" fmla="*/ 88 h 264"/>
                <a:gd name="T78" fmla="*/ 18 w 264"/>
                <a:gd name="T79" fmla="*/ 132 h 264"/>
                <a:gd name="T80" fmla="*/ 20 w 264"/>
                <a:gd name="T81" fmla="*/ 156 h 264"/>
                <a:gd name="T82" fmla="*/ 38 w 264"/>
                <a:gd name="T83" fmla="*/ 196 h 264"/>
                <a:gd name="T84" fmla="*/ 68 w 264"/>
                <a:gd name="T85" fmla="*/ 228 h 264"/>
                <a:gd name="T86" fmla="*/ 110 w 264"/>
                <a:gd name="T87" fmla="*/ 246 h 264"/>
                <a:gd name="T88" fmla="*/ 132 w 264"/>
                <a:gd name="T89" fmla="*/ 248 h 264"/>
                <a:gd name="T90" fmla="*/ 178 w 264"/>
                <a:gd name="T91" fmla="*/ 238 h 264"/>
                <a:gd name="T92" fmla="*/ 214 w 264"/>
                <a:gd name="T93" fmla="*/ 214 h 264"/>
                <a:gd name="T94" fmla="*/ 238 w 264"/>
                <a:gd name="T95" fmla="*/ 178 h 264"/>
                <a:gd name="T96" fmla="*/ 248 w 264"/>
                <a:gd name="T97" fmla="*/ 132 h 264"/>
                <a:gd name="T98" fmla="*/ 244 w 264"/>
                <a:gd name="T99" fmla="*/ 110 h 264"/>
                <a:gd name="T100" fmla="*/ 228 w 264"/>
                <a:gd name="T101" fmla="*/ 68 h 264"/>
                <a:gd name="T102" fmla="*/ 196 w 264"/>
                <a:gd name="T103" fmla="*/ 38 h 264"/>
                <a:gd name="T104" fmla="*/ 156 w 264"/>
                <a:gd name="T105" fmla="*/ 20 h 264"/>
                <a:gd name="T106" fmla="*/ 132 w 264"/>
                <a:gd name="T107" fmla="*/ 1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264">
                  <a:moveTo>
                    <a:pt x="132" y="264"/>
                  </a:moveTo>
                  <a:lnTo>
                    <a:pt x="132" y="264"/>
                  </a:lnTo>
                  <a:lnTo>
                    <a:pt x="120" y="264"/>
                  </a:lnTo>
                  <a:lnTo>
                    <a:pt x="106" y="262"/>
                  </a:lnTo>
                  <a:lnTo>
                    <a:pt x="94" y="258"/>
                  </a:lnTo>
                  <a:lnTo>
                    <a:pt x="82" y="254"/>
                  </a:lnTo>
                  <a:lnTo>
                    <a:pt x="70" y="248"/>
                  </a:lnTo>
                  <a:lnTo>
                    <a:pt x="58" y="242"/>
                  </a:lnTo>
                  <a:lnTo>
                    <a:pt x="48" y="234"/>
                  </a:lnTo>
                  <a:lnTo>
                    <a:pt x="40" y="226"/>
                  </a:lnTo>
                  <a:lnTo>
                    <a:pt x="30" y="216"/>
                  </a:lnTo>
                  <a:lnTo>
                    <a:pt x="24" y="206"/>
                  </a:lnTo>
                  <a:lnTo>
                    <a:pt x="16" y="196"/>
                  </a:lnTo>
                  <a:lnTo>
                    <a:pt x="12" y="184"/>
                  </a:lnTo>
                  <a:lnTo>
                    <a:pt x="6" y="172"/>
                  </a:lnTo>
                  <a:lnTo>
                    <a:pt x="4" y="160"/>
                  </a:lnTo>
                  <a:lnTo>
                    <a:pt x="2" y="14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20"/>
                  </a:lnTo>
                  <a:lnTo>
                    <a:pt x="4" y="106"/>
                  </a:lnTo>
                  <a:lnTo>
                    <a:pt x="6" y="94"/>
                  </a:lnTo>
                  <a:lnTo>
                    <a:pt x="12" y="82"/>
                  </a:lnTo>
                  <a:lnTo>
                    <a:pt x="16" y="70"/>
                  </a:lnTo>
                  <a:lnTo>
                    <a:pt x="24" y="58"/>
                  </a:lnTo>
                  <a:lnTo>
                    <a:pt x="30" y="48"/>
                  </a:lnTo>
                  <a:lnTo>
                    <a:pt x="40" y="40"/>
                  </a:lnTo>
                  <a:lnTo>
                    <a:pt x="48" y="30"/>
                  </a:lnTo>
                  <a:lnTo>
                    <a:pt x="58" y="24"/>
                  </a:lnTo>
                  <a:lnTo>
                    <a:pt x="70" y="16"/>
                  </a:lnTo>
                  <a:lnTo>
                    <a:pt x="82" y="12"/>
                  </a:lnTo>
                  <a:lnTo>
                    <a:pt x="94" y="6"/>
                  </a:lnTo>
                  <a:lnTo>
                    <a:pt x="106" y="4"/>
                  </a:lnTo>
                  <a:lnTo>
                    <a:pt x="120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6" y="2"/>
                  </a:lnTo>
                  <a:lnTo>
                    <a:pt x="160" y="4"/>
                  </a:lnTo>
                  <a:lnTo>
                    <a:pt x="172" y="6"/>
                  </a:lnTo>
                  <a:lnTo>
                    <a:pt x="184" y="12"/>
                  </a:lnTo>
                  <a:lnTo>
                    <a:pt x="196" y="16"/>
                  </a:lnTo>
                  <a:lnTo>
                    <a:pt x="206" y="24"/>
                  </a:lnTo>
                  <a:lnTo>
                    <a:pt x="216" y="30"/>
                  </a:lnTo>
                  <a:lnTo>
                    <a:pt x="226" y="40"/>
                  </a:lnTo>
                  <a:lnTo>
                    <a:pt x="234" y="48"/>
                  </a:lnTo>
                  <a:lnTo>
                    <a:pt x="242" y="58"/>
                  </a:lnTo>
                  <a:lnTo>
                    <a:pt x="248" y="70"/>
                  </a:lnTo>
                  <a:lnTo>
                    <a:pt x="254" y="82"/>
                  </a:lnTo>
                  <a:lnTo>
                    <a:pt x="258" y="94"/>
                  </a:lnTo>
                  <a:lnTo>
                    <a:pt x="262" y="106"/>
                  </a:lnTo>
                  <a:lnTo>
                    <a:pt x="264" y="120"/>
                  </a:lnTo>
                  <a:lnTo>
                    <a:pt x="264" y="132"/>
                  </a:lnTo>
                  <a:lnTo>
                    <a:pt x="264" y="132"/>
                  </a:lnTo>
                  <a:lnTo>
                    <a:pt x="264" y="146"/>
                  </a:lnTo>
                  <a:lnTo>
                    <a:pt x="262" y="160"/>
                  </a:lnTo>
                  <a:lnTo>
                    <a:pt x="258" y="172"/>
                  </a:lnTo>
                  <a:lnTo>
                    <a:pt x="254" y="184"/>
                  </a:lnTo>
                  <a:lnTo>
                    <a:pt x="248" y="196"/>
                  </a:lnTo>
                  <a:lnTo>
                    <a:pt x="242" y="206"/>
                  </a:lnTo>
                  <a:lnTo>
                    <a:pt x="234" y="216"/>
                  </a:lnTo>
                  <a:lnTo>
                    <a:pt x="226" y="226"/>
                  </a:lnTo>
                  <a:lnTo>
                    <a:pt x="216" y="234"/>
                  </a:lnTo>
                  <a:lnTo>
                    <a:pt x="206" y="242"/>
                  </a:lnTo>
                  <a:lnTo>
                    <a:pt x="196" y="248"/>
                  </a:lnTo>
                  <a:lnTo>
                    <a:pt x="184" y="254"/>
                  </a:lnTo>
                  <a:lnTo>
                    <a:pt x="172" y="258"/>
                  </a:lnTo>
                  <a:lnTo>
                    <a:pt x="160" y="262"/>
                  </a:lnTo>
                  <a:lnTo>
                    <a:pt x="146" y="264"/>
                  </a:lnTo>
                  <a:lnTo>
                    <a:pt x="132" y="264"/>
                  </a:lnTo>
                  <a:lnTo>
                    <a:pt x="132" y="264"/>
                  </a:lnTo>
                  <a:close/>
                  <a:moveTo>
                    <a:pt x="132" y="18"/>
                  </a:moveTo>
                  <a:lnTo>
                    <a:pt x="132" y="18"/>
                  </a:lnTo>
                  <a:lnTo>
                    <a:pt x="110" y="20"/>
                  </a:lnTo>
                  <a:lnTo>
                    <a:pt x="88" y="28"/>
                  </a:lnTo>
                  <a:lnTo>
                    <a:pt x="68" y="38"/>
                  </a:lnTo>
                  <a:lnTo>
                    <a:pt x="52" y="52"/>
                  </a:lnTo>
                  <a:lnTo>
                    <a:pt x="38" y="68"/>
                  </a:lnTo>
                  <a:lnTo>
                    <a:pt x="26" y="88"/>
                  </a:lnTo>
                  <a:lnTo>
                    <a:pt x="20" y="110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20" y="156"/>
                  </a:lnTo>
                  <a:lnTo>
                    <a:pt x="26" y="178"/>
                  </a:lnTo>
                  <a:lnTo>
                    <a:pt x="38" y="196"/>
                  </a:lnTo>
                  <a:lnTo>
                    <a:pt x="52" y="214"/>
                  </a:lnTo>
                  <a:lnTo>
                    <a:pt x="68" y="228"/>
                  </a:lnTo>
                  <a:lnTo>
                    <a:pt x="88" y="238"/>
                  </a:lnTo>
                  <a:lnTo>
                    <a:pt x="110" y="246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56" y="246"/>
                  </a:lnTo>
                  <a:lnTo>
                    <a:pt x="178" y="238"/>
                  </a:lnTo>
                  <a:lnTo>
                    <a:pt x="196" y="228"/>
                  </a:lnTo>
                  <a:lnTo>
                    <a:pt x="214" y="214"/>
                  </a:lnTo>
                  <a:lnTo>
                    <a:pt x="228" y="196"/>
                  </a:lnTo>
                  <a:lnTo>
                    <a:pt x="238" y="178"/>
                  </a:lnTo>
                  <a:lnTo>
                    <a:pt x="244" y="156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4" y="110"/>
                  </a:lnTo>
                  <a:lnTo>
                    <a:pt x="238" y="88"/>
                  </a:lnTo>
                  <a:lnTo>
                    <a:pt x="228" y="68"/>
                  </a:lnTo>
                  <a:lnTo>
                    <a:pt x="214" y="52"/>
                  </a:lnTo>
                  <a:lnTo>
                    <a:pt x="196" y="38"/>
                  </a:lnTo>
                  <a:lnTo>
                    <a:pt x="178" y="28"/>
                  </a:lnTo>
                  <a:lnTo>
                    <a:pt x="156" y="20"/>
                  </a:lnTo>
                  <a:lnTo>
                    <a:pt x="132" y="18"/>
                  </a:lnTo>
                  <a:lnTo>
                    <a:pt x="132" y="1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75" name="Freeform 73"/>
            <p:cNvSpPr>
              <a:spLocks noEditPoints="1"/>
            </p:cNvSpPr>
            <p:nvPr/>
          </p:nvSpPr>
          <p:spPr bwMode="auto">
            <a:xfrm>
              <a:off x="1828800" y="3148858"/>
              <a:ext cx="467448" cy="467447"/>
            </a:xfrm>
            <a:custGeom>
              <a:avLst/>
              <a:gdLst>
                <a:gd name="T0" fmla="*/ 114 w 228"/>
                <a:gd name="T1" fmla="*/ 228 h 228"/>
                <a:gd name="T2" fmla="*/ 70 w 228"/>
                <a:gd name="T3" fmla="*/ 220 h 228"/>
                <a:gd name="T4" fmla="*/ 32 w 228"/>
                <a:gd name="T5" fmla="*/ 194 h 228"/>
                <a:gd name="T6" fmla="*/ 8 w 228"/>
                <a:gd name="T7" fmla="*/ 158 h 228"/>
                <a:gd name="T8" fmla="*/ 0 w 228"/>
                <a:gd name="T9" fmla="*/ 114 h 228"/>
                <a:gd name="T10" fmla="*/ 2 w 228"/>
                <a:gd name="T11" fmla="*/ 90 h 228"/>
                <a:gd name="T12" fmla="*/ 18 w 228"/>
                <a:gd name="T13" fmla="*/ 50 h 228"/>
                <a:gd name="T14" fmla="*/ 50 w 228"/>
                <a:gd name="T15" fmla="*/ 18 h 228"/>
                <a:gd name="T16" fmla="*/ 90 w 228"/>
                <a:gd name="T17" fmla="*/ 2 h 228"/>
                <a:gd name="T18" fmla="*/ 114 w 228"/>
                <a:gd name="T19" fmla="*/ 0 h 228"/>
                <a:gd name="T20" fmla="*/ 158 w 228"/>
                <a:gd name="T21" fmla="*/ 8 h 228"/>
                <a:gd name="T22" fmla="*/ 194 w 228"/>
                <a:gd name="T23" fmla="*/ 32 h 228"/>
                <a:gd name="T24" fmla="*/ 220 w 228"/>
                <a:gd name="T25" fmla="*/ 70 h 228"/>
                <a:gd name="T26" fmla="*/ 228 w 228"/>
                <a:gd name="T27" fmla="*/ 114 h 228"/>
                <a:gd name="T28" fmla="*/ 226 w 228"/>
                <a:gd name="T29" fmla="*/ 136 h 228"/>
                <a:gd name="T30" fmla="*/ 208 w 228"/>
                <a:gd name="T31" fmla="*/ 178 h 228"/>
                <a:gd name="T32" fmla="*/ 178 w 228"/>
                <a:gd name="T33" fmla="*/ 208 h 228"/>
                <a:gd name="T34" fmla="*/ 136 w 228"/>
                <a:gd name="T35" fmla="*/ 226 h 228"/>
                <a:gd name="T36" fmla="*/ 114 w 228"/>
                <a:gd name="T37" fmla="*/ 228 h 228"/>
                <a:gd name="T38" fmla="*/ 114 w 228"/>
                <a:gd name="T39" fmla="*/ 16 h 228"/>
                <a:gd name="T40" fmla="*/ 76 w 228"/>
                <a:gd name="T41" fmla="*/ 24 h 228"/>
                <a:gd name="T42" fmla="*/ 44 w 228"/>
                <a:gd name="T43" fmla="*/ 44 h 228"/>
                <a:gd name="T44" fmla="*/ 24 w 228"/>
                <a:gd name="T45" fmla="*/ 76 h 228"/>
                <a:gd name="T46" fmla="*/ 16 w 228"/>
                <a:gd name="T47" fmla="*/ 114 h 228"/>
                <a:gd name="T48" fmla="*/ 18 w 228"/>
                <a:gd name="T49" fmla="*/ 134 h 228"/>
                <a:gd name="T50" fmla="*/ 34 w 228"/>
                <a:gd name="T51" fmla="*/ 168 h 228"/>
                <a:gd name="T52" fmla="*/ 60 w 228"/>
                <a:gd name="T53" fmla="*/ 194 h 228"/>
                <a:gd name="T54" fmla="*/ 94 w 228"/>
                <a:gd name="T55" fmla="*/ 210 h 228"/>
                <a:gd name="T56" fmla="*/ 114 w 228"/>
                <a:gd name="T57" fmla="*/ 212 h 228"/>
                <a:gd name="T58" fmla="*/ 152 w 228"/>
                <a:gd name="T59" fmla="*/ 204 h 228"/>
                <a:gd name="T60" fmla="*/ 182 w 228"/>
                <a:gd name="T61" fmla="*/ 182 h 228"/>
                <a:gd name="T62" fmla="*/ 204 w 228"/>
                <a:gd name="T63" fmla="*/ 152 h 228"/>
                <a:gd name="T64" fmla="*/ 212 w 228"/>
                <a:gd name="T65" fmla="*/ 114 h 228"/>
                <a:gd name="T66" fmla="*/ 210 w 228"/>
                <a:gd name="T67" fmla="*/ 94 h 228"/>
                <a:gd name="T68" fmla="*/ 194 w 228"/>
                <a:gd name="T69" fmla="*/ 60 h 228"/>
                <a:gd name="T70" fmla="*/ 168 w 228"/>
                <a:gd name="T71" fmla="*/ 32 h 228"/>
                <a:gd name="T72" fmla="*/ 134 w 228"/>
                <a:gd name="T73" fmla="*/ 18 h 228"/>
                <a:gd name="T74" fmla="*/ 114 w 228"/>
                <a:gd name="T75" fmla="*/ 16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lnTo>
                    <a:pt x="114" y="228"/>
                  </a:lnTo>
                  <a:lnTo>
                    <a:pt x="90" y="226"/>
                  </a:lnTo>
                  <a:lnTo>
                    <a:pt x="70" y="220"/>
                  </a:lnTo>
                  <a:lnTo>
                    <a:pt x="50" y="208"/>
                  </a:lnTo>
                  <a:lnTo>
                    <a:pt x="32" y="194"/>
                  </a:lnTo>
                  <a:lnTo>
                    <a:pt x="18" y="178"/>
                  </a:lnTo>
                  <a:lnTo>
                    <a:pt x="8" y="158"/>
                  </a:lnTo>
                  <a:lnTo>
                    <a:pt x="2" y="136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90"/>
                  </a:lnTo>
                  <a:lnTo>
                    <a:pt x="8" y="70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50" y="18"/>
                  </a:lnTo>
                  <a:lnTo>
                    <a:pt x="70" y="8"/>
                  </a:lnTo>
                  <a:lnTo>
                    <a:pt x="90" y="2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36" y="2"/>
                  </a:lnTo>
                  <a:lnTo>
                    <a:pt x="158" y="8"/>
                  </a:lnTo>
                  <a:lnTo>
                    <a:pt x="178" y="18"/>
                  </a:lnTo>
                  <a:lnTo>
                    <a:pt x="194" y="32"/>
                  </a:lnTo>
                  <a:lnTo>
                    <a:pt x="208" y="50"/>
                  </a:lnTo>
                  <a:lnTo>
                    <a:pt x="220" y="70"/>
                  </a:lnTo>
                  <a:lnTo>
                    <a:pt x="226" y="90"/>
                  </a:lnTo>
                  <a:lnTo>
                    <a:pt x="228" y="114"/>
                  </a:lnTo>
                  <a:lnTo>
                    <a:pt x="228" y="114"/>
                  </a:lnTo>
                  <a:lnTo>
                    <a:pt x="226" y="136"/>
                  </a:lnTo>
                  <a:lnTo>
                    <a:pt x="220" y="158"/>
                  </a:lnTo>
                  <a:lnTo>
                    <a:pt x="208" y="178"/>
                  </a:lnTo>
                  <a:lnTo>
                    <a:pt x="194" y="194"/>
                  </a:lnTo>
                  <a:lnTo>
                    <a:pt x="178" y="208"/>
                  </a:lnTo>
                  <a:lnTo>
                    <a:pt x="158" y="220"/>
                  </a:lnTo>
                  <a:lnTo>
                    <a:pt x="136" y="226"/>
                  </a:lnTo>
                  <a:lnTo>
                    <a:pt x="114" y="228"/>
                  </a:lnTo>
                  <a:lnTo>
                    <a:pt x="114" y="228"/>
                  </a:lnTo>
                  <a:close/>
                  <a:moveTo>
                    <a:pt x="114" y="16"/>
                  </a:moveTo>
                  <a:lnTo>
                    <a:pt x="114" y="16"/>
                  </a:lnTo>
                  <a:lnTo>
                    <a:pt x="94" y="18"/>
                  </a:lnTo>
                  <a:lnTo>
                    <a:pt x="76" y="24"/>
                  </a:lnTo>
                  <a:lnTo>
                    <a:pt x="60" y="32"/>
                  </a:lnTo>
                  <a:lnTo>
                    <a:pt x="44" y="44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18" y="9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8" y="134"/>
                  </a:lnTo>
                  <a:lnTo>
                    <a:pt x="24" y="152"/>
                  </a:lnTo>
                  <a:lnTo>
                    <a:pt x="34" y="168"/>
                  </a:lnTo>
                  <a:lnTo>
                    <a:pt x="44" y="182"/>
                  </a:lnTo>
                  <a:lnTo>
                    <a:pt x="60" y="194"/>
                  </a:lnTo>
                  <a:lnTo>
                    <a:pt x="76" y="204"/>
                  </a:lnTo>
                  <a:lnTo>
                    <a:pt x="94" y="210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34" y="210"/>
                  </a:lnTo>
                  <a:lnTo>
                    <a:pt x="152" y="204"/>
                  </a:lnTo>
                  <a:lnTo>
                    <a:pt x="168" y="194"/>
                  </a:lnTo>
                  <a:lnTo>
                    <a:pt x="182" y="182"/>
                  </a:lnTo>
                  <a:lnTo>
                    <a:pt x="194" y="168"/>
                  </a:lnTo>
                  <a:lnTo>
                    <a:pt x="204" y="152"/>
                  </a:lnTo>
                  <a:lnTo>
                    <a:pt x="210" y="134"/>
                  </a:lnTo>
                  <a:lnTo>
                    <a:pt x="212" y="114"/>
                  </a:lnTo>
                  <a:lnTo>
                    <a:pt x="212" y="114"/>
                  </a:lnTo>
                  <a:lnTo>
                    <a:pt x="210" y="94"/>
                  </a:lnTo>
                  <a:lnTo>
                    <a:pt x="204" y="76"/>
                  </a:lnTo>
                  <a:lnTo>
                    <a:pt x="194" y="60"/>
                  </a:lnTo>
                  <a:lnTo>
                    <a:pt x="182" y="44"/>
                  </a:lnTo>
                  <a:lnTo>
                    <a:pt x="168" y="32"/>
                  </a:lnTo>
                  <a:lnTo>
                    <a:pt x="152" y="24"/>
                  </a:lnTo>
                  <a:lnTo>
                    <a:pt x="134" y="18"/>
                  </a:lnTo>
                  <a:lnTo>
                    <a:pt x="114" y="16"/>
                  </a:lnTo>
                  <a:lnTo>
                    <a:pt x="114" y="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76" name="Freeform 74"/>
            <p:cNvSpPr>
              <a:spLocks noEditPoints="1"/>
            </p:cNvSpPr>
            <p:nvPr/>
          </p:nvSpPr>
          <p:spPr bwMode="auto">
            <a:xfrm>
              <a:off x="3460766" y="4194464"/>
              <a:ext cx="205021" cy="205021"/>
            </a:xfrm>
            <a:custGeom>
              <a:avLst/>
              <a:gdLst>
                <a:gd name="T0" fmla="*/ 50 w 100"/>
                <a:gd name="T1" fmla="*/ 100 h 100"/>
                <a:gd name="T2" fmla="*/ 30 w 100"/>
                <a:gd name="T3" fmla="*/ 96 h 100"/>
                <a:gd name="T4" fmla="*/ 14 w 100"/>
                <a:gd name="T5" fmla="*/ 86 h 100"/>
                <a:gd name="T6" fmla="*/ 4 w 100"/>
                <a:gd name="T7" fmla="*/ 70 h 100"/>
                <a:gd name="T8" fmla="*/ 0 w 100"/>
                <a:gd name="T9" fmla="*/ 50 h 100"/>
                <a:gd name="T10" fmla="*/ 0 w 100"/>
                <a:gd name="T11" fmla="*/ 40 h 100"/>
                <a:gd name="T12" fmla="*/ 8 w 100"/>
                <a:gd name="T13" fmla="*/ 22 h 100"/>
                <a:gd name="T14" fmla="*/ 22 w 100"/>
                <a:gd name="T15" fmla="*/ 10 h 100"/>
                <a:gd name="T16" fmla="*/ 40 w 100"/>
                <a:gd name="T17" fmla="*/ 2 h 100"/>
                <a:gd name="T18" fmla="*/ 50 w 100"/>
                <a:gd name="T19" fmla="*/ 0 h 100"/>
                <a:gd name="T20" fmla="*/ 70 w 100"/>
                <a:gd name="T21" fmla="*/ 4 h 100"/>
                <a:gd name="T22" fmla="*/ 86 w 100"/>
                <a:gd name="T23" fmla="*/ 16 h 100"/>
                <a:gd name="T24" fmla="*/ 96 w 100"/>
                <a:gd name="T25" fmla="*/ 32 h 100"/>
                <a:gd name="T26" fmla="*/ 100 w 100"/>
                <a:gd name="T27" fmla="*/ 50 h 100"/>
                <a:gd name="T28" fmla="*/ 100 w 100"/>
                <a:gd name="T29" fmla="*/ 60 h 100"/>
                <a:gd name="T30" fmla="*/ 92 w 100"/>
                <a:gd name="T31" fmla="*/ 78 h 100"/>
                <a:gd name="T32" fmla="*/ 78 w 100"/>
                <a:gd name="T33" fmla="*/ 92 h 100"/>
                <a:gd name="T34" fmla="*/ 60 w 100"/>
                <a:gd name="T35" fmla="*/ 100 h 100"/>
                <a:gd name="T36" fmla="*/ 50 w 100"/>
                <a:gd name="T37" fmla="*/ 100 h 100"/>
                <a:gd name="T38" fmla="*/ 50 w 100"/>
                <a:gd name="T39" fmla="*/ 18 h 100"/>
                <a:gd name="T40" fmla="*/ 38 w 100"/>
                <a:gd name="T41" fmla="*/ 20 h 100"/>
                <a:gd name="T42" fmla="*/ 26 w 100"/>
                <a:gd name="T43" fmla="*/ 28 h 100"/>
                <a:gd name="T44" fmla="*/ 20 w 100"/>
                <a:gd name="T45" fmla="*/ 38 h 100"/>
                <a:gd name="T46" fmla="*/ 16 w 100"/>
                <a:gd name="T47" fmla="*/ 50 h 100"/>
                <a:gd name="T48" fmla="*/ 18 w 100"/>
                <a:gd name="T49" fmla="*/ 58 h 100"/>
                <a:gd name="T50" fmla="*/ 22 w 100"/>
                <a:gd name="T51" fmla="*/ 70 h 100"/>
                <a:gd name="T52" fmla="*/ 32 w 100"/>
                <a:gd name="T53" fmla="*/ 78 h 100"/>
                <a:gd name="T54" fmla="*/ 44 w 100"/>
                <a:gd name="T55" fmla="*/ 84 h 100"/>
                <a:gd name="T56" fmla="*/ 50 w 100"/>
                <a:gd name="T57" fmla="*/ 84 h 100"/>
                <a:gd name="T58" fmla="*/ 62 w 100"/>
                <a:gd name="T59" fmla="*/ 82 h 100"/>
                <a:gd name="T60" fmla="*/ 74 w 100"/>
                <a:gd name="T61" fmla="*/ 74 h 100"/>
                <a:gd name="T62" fmla="*/ 80 w 100"/>
                <a:gd name="T63" fmla="*/ 64 h 100"/>
                <a:gd name="T64" fmla="*/ 82 w 100"/>
                <a:gd name="T65" fmla="*/ 50 h 100"/>
                <a:gd name="T66" fmla="*/ 82 w 100"/>
                <a:gd name="T67" fmla="*/ 44 h 100"/>
                <a:gd name="T68" fmla="*/ 78 w 100"/>
                <a:gd name="T69" fmla="*/ 32 h 100"/>
                <a:gd name="T70" fmla="*/ 68 w 100"/>
                <a:gd name="T71" fmla="*/ 24 h 100"/>
                <a:gd name="T72" fmla="*/ 56 w 100"/>
                <a:gd name="T73" fmla="*/ 18 h 100"/>
                <a:gd name="T74" fmla="*/ 50 w 100"/>
                <a:gd name="T75" fmla="*/ 1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lnTo>
                    <a:pt x="50" y="100"/>
                  </a:lnTo>
                  <a:lnTo>
                    <a:pt x="40" y="100"/>
                  </a:lnTo>
                  <a:lnTo>
                    <a:pt x="30" y="96"/>
                  </a:lnTo>
                  <a:lnTo>
                    <a:pt x="22" y="92"/>
                  </a:lnTo>
                  <a:lnTo>
                    <a:pt x="14" y="86"/>
                  </a:lnTo>
                  <a:lnTo>
                    <a:pt x="8" y="78"/>
                  </a:lnTo>
                  <a:lnTo>
                    <a:pt x="4" y="70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10"/>
                  </a:lnTo>
                  <a:lnTo>
                    <a:pt x="30" y="4"/>
                  </a:lnTo>
                  <a:lnTo>
                    <a:pt x="40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2"/>
                  </a:lnTo>
                  <a:lnTo>
                    <a:pt x="70" y="4"/>
                  </a:lnTo>
                  <a:lnTo>
                    <a:pt x="78" y="10"/>
                  </a:lnTo>
                  <a:lnTo>
                    <a:pt x="86" y="16"/>
                  </a:lnTo>
                  <a:lnTo>
                    <a:pt x="92" y="22"/>
                  </a:lnTo>
                  <a:lnTo>
                    <a:pt x="96" y="32"/>
                  </a:lnTo>
                  <a:lnTo>
                    <a:pt x="100" y="4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0" y="60"/>
                  </a:lnTo>
                  <a:lnTo>
                    <a:pt x="96" y="70"/>
                  </a:lnTo>
                  <a:lnTo>
                    <a:pt x="92" y="78"/>
                  </a:lnTo>
                  <a:lnTo>
                    <a:pt x="86" y="86"/>
                  </a:lnTo>
                  <a:lnTo>
                    <a:pt x="78" y="92"/>
                  </a:lnTo>
                  <a:lnTo>
                    <a:pt x="70" y="96"/>
                  </a:lnTo>
                  <a:lnTo>
                    <a:pt x="60" y="100"/>
                  </a:lnTo>
                  <a:lnTo>
                    <a:pt x="50" y="100"/>
                  </a:lnTo>
                  <a:lnTo>
                    <a:pt x="50" y="100"/>
                  </a:lnTo>
                  <a:close/>
                  <a:moveTo>
                    <a:pt x="50" y="18"/>
                  </a:moveTo>
                  <a:lnTo>
                    <a:pt x="50" y="18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2" y="24"/>
                  </a:lnTo>
                  <a:lnTo>
                    <a:pt x="26" y="28"/>
                  </a:lnTo>
                  <a:lnTo>
                    <a:pt x="22" y="32"/>
                  </a:lnTo>
                  <a:lnTo>
                    <a:pt x="20" y="38"/>
                  </a:lnTo>
                  <a:lnTo>
                    <a:pt x="18" y="44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8"/>
                  </a:lnTo>
                  <a:lnTo>
                    <a:pt x="20" y="64"/>
                  </a:lnTo>
                  <a:lnTo>
                    <a:pt x="22" y="70"/>
                  </a:lnTo>
                  <a:lnTo>
                    <a:pt x="26" y="74"/>
                  </a:lnTo>
                  <a:lnTo>
                    <a:pt x="32" y="78"/>
                  </a:lnTo>
                  <a:lnTo>
                    <a:pt x="38" y="82"/>
                  </a:lnTo>
                  <a:lnTo>
                    <a:pt x="44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6" y="84"/>
                  </a:lnTo>
                  <a:lnTo>
                    <a:pt x="62" y="82"/>
                  </a:lnTo>
                  <a:lnTo>
                    <a:pt x="68" y="78"/>
                  </a:lnTo>
                  <a:lnTo>
                    <a:pt x="74" y="74"/>
                  </a:lnTo>
                  <a:lnTo>
                    <a:pt x="78" y="70"/>
                  </a:lnTo>
                  <a:lnTo>
                    <a:pt x="80" y="64"/>
                  </a:lnTo>
                  <a:lnTo>
                    <a:pt x="82" y="5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44"/>
                  </a:lnTo>
                  <a:lnTo>
                    <a:pt x="80" y="38"/>
                  </a:lnTo>
                  <a:lnTo>
                    <a:pt x="78" y="32"/>
                  </a:lnTo>
                  <a:lnTo>
                    <a:pt x="74" y="28"/>
                  </a:lnTo>
                  <a:lnTo>
                    <a:pt x="68" y="24"/>
                  </a:lnTo>
                  <a:lnTo>
                    <a:pt x="62" y="20"/>
                  </a:lnTo>
                  <a:lnTo>
                    <a:pt x="56" y="18"/>
                  </a:lnTo>
                  <a:lnTo>
                    <a:pt x="50" y="18"/>
                  </a:lnTo>
                  <a:lnTo>
                    <a:pt x="50" y="1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77" name="Freeform 75"/>
            <p:cNvSpPr>
              <a:spLocks/>
            </p:cNvSpPr>
            <p:nvPr/>
          </p:nvSpPr>
          <p:spPr bwMode="auto">
            <a:xfrm>
              <a:off x="4157837" y="3407185"/>
              <a:ext cx="360837" cy="963598"/>
            </a:xfrm>
            <a:custGeom>
              <a:avLst/>
              <a:gdLst>
                <a:gd name="T0" fmla="*/ 8 w 176"/>
                <a:gd name="T1" fmla="*/ 470 h 470"/>
                <a:gd name="T2" fmla="*/ 8 w 176"/>
                <a:gd name="T3" fmla="*/ 470 h 470"/>
                <a:gd name="T4" fmla="*/ 6 w 176"/>
                <a:gd name="T5" fmla="*/ 470 h 470"/>
                <a:gd name="T6" fmla="*/ 2 w 176"/>
                <a:gd name="T7" fmla="*/ 468 h 470"/>
                <a:gd name="T8" fmla="*/ 2 w 176"/>
                <a:gd name="T9" fmla="*/ 468 h 470"/>
                <a:gd name="T10" fmla="*/ 0 w 176"/>
                <a:gd name="T11" fmla="*/ 466 h 470"/>
                <a:gd name="T12" fmla="*/ 0 w 176"/>
                <a:gd name="T13" fmla="*/ 462 h 470"/>
                <a:gd name="T14" fmla="*/ 0 w 176"/>
                <a:gd name="T15" fmla="*/ 458 h 470"/>
                <a:gd name="T16" fmla="*/ 2 w 176"/>
                <a:gd name="T17" fmla="*/ 456 h 470"/>
                <a:gd name="T18" fmla="*/ 2 w 176"/>
                <a:gd name="T19" fmla="*/ 456 h 470"/>
                <a:gd name="T20" fmla="*/ 34 w 176"/>
                <a:gd name="T21" fmla="*/ 420 h 470"/>
                <a:gd name="T22" fmla="*/ 60 w 176"/>
                <a:gd name="T23" fmla="*/ 382 h 470"/>
                <a:gd name="T24" fmla="*/ 84 w 176"/>
                <a:gd name="T25" fmla="*/ 342 h 470"/>
                <a:gd name="T26" fmla="*/ 106 w 176"/>
                <a:gd name="T27" fmla="*/ 302 h 470"/>
                <a:gd name="T28" fmla="*/ 124 w 176"/>
                <a:gd name="T29" fmla="*/ 258 h 470"/>
                <a:gd name="T30" fmla="*/ 138 w 176"/>
                <a:gd name="T31" fmla="*/ 214 h 470"/>
                <a:gd name="T32" fmla="*/ 148 w 176"/>
                <a:gd name="T33" fmla="*/ 168 h 470"/>
                <a:gd name="T34" fmla="*/ 154 w 176"/>
                <a:gd name="T35" fmla="*/ 122 h 470"/>
                <a:gd name="T36" fmla="*/ 154 w 176"/>
                <a:gd name="T37" fmla="*/ 122 h 470"/>
                <a:gd name="T38" fmla="*/ 158 w 176"/>
                <a:gd name="T39" fmla="*/ 84 h 470"/>
                <a:gd name="T40" fmla="*/ 158 w 176"/>
                <a:gd name="T41" fmla="*/ 48 h 470"/>
                <a:gd name="T42" fmla="*/ 158 w 176"/>
                <a:gd name="T43" fmla="*/ 28 h 470"/>
                <a:gd name="T44" fmla="*/ 156 w 176"/>
                <a:gd name="T45" fmla="*/ 10 h 470"/>
                <a:gd name="T46" fmla="*/ 156 w 176"/>
                <a:gd name="T47" fmla="*/ 10 h 470"/>
                <a:gd name="T48" fmla="*/ 156 w 176"/>
                <a:gd name="T49" fmla="*/ 6 h 470"/>
                <a:gd name="T50" fmla="*/ 158 w 176"/>
                <a:gd name="T51" fmla="*/ 4 h 470"/>
                <a:gd name="T52" fmla="*/ 160 w 176"/>
                <a:gd name="T53" fmla="*/ 2 h 470"/>
                <a:gd name="T54" fmla="*/ 164 w 176"/>
                <a:gd name="T55" fmla="*/ 0 h 470"/>
                <a:gd name="T56" fmla="*/ 164 w 176"/>
                <a:gd name="T57" fmla="*/ 0 h 470"/>
                <a:gd name="T58" fmla="*/ 166 w 176"/>
                <a:gd name="T59" fmla="*/ 0 h 470"/>
                <a:gd name="T60" fmla="*/ 170 w 176"/>
                <a:gd name="T61" fmla="*/ 2 h 470"/>
                <a:gd name="T62" fmla="*/ 172 w 176"/>
                <a:gd name="T63" fmla="*/ 4 h 470"/>
                <a:gd name="T64" fmla="*/ 172 w 176"/>
                <a:gd name="T65" fmla="*/ 8 h 470"/>
                <a:gd name="T66" fmla="*/ 172 w 176"/>
                <a:gd name="T67" fmla="*/ 8 h 470"/>
                <a:gd name="T68" fmla="*/ 176 w 176"/>
                <a:gd name="T69" fmla="*/ 28 h 470"/>
                <a:gd name="T70" fmla="*/ 176 w 176"/>
                <a:gd name="T71" fmla="*/ 48 h 470"/>
                <a:gd name="T72" fmla="*/ 176 w 176"/>
                <a:gd name="T73" fmla="*/ 84 h 470"/>
                <a:gd name="T74" fmla="*/ 174 w 176"/>
                <a:gd name="T75" fmla="*/ 112 h 470"/>
                <a:gd name="T76" fmla="*/ 172 w 176"/>
                <a:gd name="T77" fmla="*/ 124 h 470"/>
                <a:gd name="T78" fmla="*/ 172 w 176"/>
                <a:gd name="T79" fmla="*/ 124 h 470"/>
                <a:gd name="T80" fmla="*/ 164 w 176"/>
                <a:gd name="T81" fmla="*/ 172 h 470"/>
                <a:gd name="T82" fmla="*/ 154 w 176"/>
                <a:gd name="T83" fmla="*/ 220 h 470"/>
                <a:gd name="T84" fmla="*/ 140 w 176"/>
                <a:gd name="T85" fmla="*/ 264 h 470"/>
                <a:gd name="T86" fmla="*/ 122 w 176"/>
                <a:gd name="T87" fmla="*/ 308 h 470"/>
                <a:gd name="T88" fmla="*/ 100 w 176"/>
                <a:gd name="T89" fmla="*/ 350 h 470"/>
                <a:gd name="T90" fmla="*/ 74 w 176"/>
                <a:gd name="T91" fmla="*/ 392 h 470"/>
                <a:gd name="T92" fmla="*/ 46 w 176"/>
                <a:gd name="T93" fmla="*/ 430 h 470"/>
                <a:gd name="T94" fmla="*/ 16 w 176"/>
                <a:gd name="T95" fmla="*/ 468 h 470"/>
                <a:gd name="T96" fmla="*/ 16 w 176"/>
                <a:gd name="T97" fmla="*/ 468 h 470"/>
                <a:gd name="T98" fmla="*/ 12 w 176"/>
                <a:gd name="T99" fmla="*/ 470 h 470"/>
                <a:gd name="T100" fmla="*/ 8 w 176"/>
                <a:gd name="T101" fmla="*/ 470 h 470"/>
                <a:gd name="T102" fmla="*/ 8 w 176"/>
                <a:gd name="T103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6" h="470">
                  <a:moveTo>
                    <a:pt x="8" y="470"/>
                  </a:moveTo>
                  <a:lnTo>
                    <a:pt x="8" y="470"/>
                  </a:lnTo>
                  <a:lnTo>
                    <a:pt x="6" y="470"/>
                  </a:lnTo>
                  <a:lnTo>
                    <a:pt x="2" y="468"/>
                  </a:lnTo>
                  <a:lnTo>
                    <a:pt x="2" y="468"/>
                  </a:lnTo>
                  <a:lnTo>
                    <a:pt x="0" y="466"/>
                  </a:lnTo>
                  <a:lnTo>
                    <a:pt x="0" y="462"/>
                  </a:lnTo>
                  <a:lnTo>
                    <a:pt x="0" y="458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34" y="420"/>
                  </a:lnTo>
                  <a:lnTo>
                    <a:pt x="60" y="382"/>
                  </a:lnTo>
                  <a:lnTo>
                    <a:pt x="84" y="342"/>
                  </a:lnTo>
                  <a:lnTo>
                    <a:pt x="106" y="302"/>
                  </a:lnTo>
                  <a:lnTo>
                    <a:pt x="124" y="258"/>
                  </a:lnTo>
                  <a:lnTo>
                    <a:pt x="138" y="214"/>
                  </a:lnTo>
                  <a:lnTo>
                    <a:pt x="148" y="168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8" y="84"/>
                  </a:lnTo>
                  <a:lnTo>
                    <a:pt x="158" y="48"/>
                  </a:lnTo>
                  <a:lnTo>
                    <a:pt x="158" y="28"/>
                  </a:lnTo>
                  <a:lnTo>
                    <a:pt x="156" y="10"/>
                  </a:lnTo>
                  <a:lnTo>
                    <a:pt x="156" y="10"/>
                  </a:lnTo>
                  <a:lnTo>
                    <a:pt x="156" y="6"/>
                  </a:lnTo>
                  <a:lnTo>
                    <a:pt x="158" y="4"/>
                  </a:lnTo>
                  <a:lnTo>
                    <a:pt x="160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70" y="2"/>
                  </a:lnTo>
                  <a:lnTo>
                    <a:pt x="172" y="4"/>
                  </a:lnTo>
                  <a:lnTo>
                    <a:pt x="172" y="8"/>
                  </a:lnTo>
                  <a:lnTo>
                    <a:pt x="172" y="8"/>
                  </a:lnTo>
                  <a:lnTo>
                    <a:pt x="176" y="28"/>
                  </a:lnTo>
                  <a:lnTo>
                    <a:pt x="176" y="48"/>
                  </a:lnTo>
                  <a:lnTo>
                    <a:pt x="176" y="84"/>
                  </a:lnTo>
                  <a:lnTo>
                    <a:pt x="174" y="112"/>
                  </a:lnTo>
                  <a:lnTo>
                    <a:pt x="172" y="124"/>
                  </a:lnTo>
                  <a:lnTo>
                    <a:pt x="172" y="124"/>
                  </a:lnTo>
                  <a:lnTo>
                    <a:pt x="164" y="172"/>
                  </a:lnTo>
                  <a:lnTo>
                    <a:pt x="154" y="220"/>
                  </a:lnTo>
                  <a:lnTo>
                    <a:pt x="140" y="264"/>
                  </a:lnTo>
                  <a:lnTo>
                    <a:pt x="122" y="308"/>
                  </a:lnTo>
                  <a:lnTo>
                    <a:pt x="100" y="350"/>
                  </a:lnTo>
                  <a:lnTo>
                    <a:pt x="74" y="392"/>
                  </a:lnTo>
                  <a:lnTo>
                    <a:pt x="46" y="430"/>
                  </a:lnTo>
                  <a:lnTo>
                    <a:pt x="16" y="468"/>
                  </a:lnTo>
                  <a:lnTo>
                    <a:pt x="16" y="468"/>
                  </a:lnTo>
                  <a:lnTo>
                    <a:pt x="12" y="470"/>
                  </a:lnTo>
                  <a:lnTo>
                    <a:pt x="8" y="470"/>
                  </a:lnTo>
                  <a:lnTo>
                    <a:pt x="8" y="470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78" name="Freeform 76"/>
            <p:cNvSpPr>
              <a:spLocks/>
            </p:cNvSpPr>
            <p:nvPr/>
          </p:nvSpPr>
          <p:spPr bwMode="auto">
            <a:xfrm>
              <a:off x="2046122" y="3587603"/>
              <a:ext cx="1472049" cy="1176819"/>
            </a:xfrm>
            <a:custGeom>
              <a:avLst/>
              <a:gdLst>
                <a:gd name="T0" fmla="*/ 602 w 718"/>
                <a:gd name="T1" fmla="*/ 574 h 574"/>
                <a:gd name="T2" fmla="*/ 542 w 718"/>
                <a:gd name="T3" fmla="*/ 570 h 574"/>
                <a:gd name="T4" fmla="*/ 486 w 718"/>
                <a:gd name="T5" fmla="*/ 562 h 574"/>
                <a:gd name="T6" fmla="*/ 430 w 718"/>
                <a:gd name="T7" fmla="*/ 548 h 574"/>
                <a:gd name="T8" fmla="*/ 376 w 718"/>
                <a:gd name="T9" fmla="*/ 530 h 574"/>
                <a:gd name="T10" fmla="*/ 326 w 718"/>
                <a:gd name="T11" fmla="*/ 506 h 574"/>
                <a:gd name="T12" fmla="*/ 278 w 718"/>
                <a:gd name="T13" fmla="*/ 478 h 574"/>
                <a:gd name="T14" fmla="*/ 232 w 718"/>
                <a:gd name="T15" fmla="*/ 446 h 574"/>
                <a:gd name="T16" fmla="*/ 190 w 718"/>
                <a:gd name="T17" fmla="*/ 410 h 574"/>
                <a:gd name="T18" fmla="*/ 150 w 718"/>
                <a:gd name="T19" fmla="*/ 370 h 574"/>
                <a:gd name="T20" fmla="*/ 116 w 718"/>
                <a:gd name="T21" fmla="*/ 328 h 574"/>
                <a:gd name="T22" fmla="*/ 84 w 718"/>
                <a:gd name="T23" fmla="*/ 280 h 574"/>
                <a:gd name="T24" fmla="*/ 58 w 718"/>
                <a:gd name="T25" fmla="*/ 232 h 574"/>
                <a:gd name="T26" fmla="*/ 36 w 718"/>
                <a:gd name="T27" fmla="*/ 180 h 574"/>
                <a:gd name="T28" fmla="*/ 18 w 718"/>
                <a:gd name="T29" fmla="*/ 124 h 574"/>
                <a:gd name="T30" fmla="*/ 6 w 718"/>
                <a:gd name="T31" fmla="*/ 68 h 574"/>
                <a:gd name="T32" fmla="*/ 0 w 718"/>
                <a:gd name="T33" fmla="*/ 10 h 574"/>
                <a:gd name="T34" fmla="*/ 0 w 718"/>
                <a:gd name="T35" fmla="*/ 6 h 574"/>
                <a:gd name="T36" fmla="*/ 4 w 718"/>
                <a:gd name="T37" fmla="*/ 2 h 574"/>
                <a:gd name="T38" fmla="*/ 8 w 718"/>
                <a:gd name="T39" fmla="*/ 0 h 574"/>
                <a:gd name="T40" fmla="*/ 14 w 718"/>
                <a:gd name="T41" fmla="*/ 2 h 574"/>
                <a:gd name="T42" fmla="*/ 16 w 718"/>
                <a:gd name="T43" fmla="*/ 8 h 574"/>
                <a:gd name="T44" fmla="*/ 20 w 718"/>
                <a:gd name="T45" fmla="*/ 38 h 574"/>
                <a:gd name="T46" fmla="*/ 28 w 718"/>
                <a:gd name="T47" fmla="*/ 94 h 574"/>
                <a:gd name="T48" fmla="*/ 42 w 718"/>
                <a:gd name="T49" fmla="*/ 148 h 574"/>
                <a:gd name="T50" fmla="*/ 62 w 718"/>
                <a:gd name="T51" fmla="*/ 198 h 574"/>
                <a:gd name="T52" fmla="*/ 86 w 718"/>
                <a:gd name="T53" fmla="*/ 248 h 574"/>
                <a:gd name="T54" fmla="*/ 114 w 718"/>
                <a:gd name="T55" fmla="*/ 294 h 574"/>
                <a:gd name="T56" fmla="*/ 146 w 718"/>
                <a:gd name="T57" fmla="*/ 338 h 574"/>
                <a:gd name="T58" fmla="*/ 182 w 718"/>
                <a:gd name="T59" fmla="*/ 378 h 574"/>
                <a:gd name="T60" fmla="*/ 222 w 718"/>
                <a:gd name="T61" fmla="*/ 416 h 574"/>
                <a:gd name="T62" fmla="*/ 264 w 718"/>
                <a:gd name="T63" fmla="*/ 450 h 574"/>
                <a:gd name="T64" fmla="*/ 310 w 718"/>
                <a:gd name="T65" fmla="*/ 478 h 574"/>
                <a:gd name="T66" fmla="*/ 358 w 718"/>
                <a:gd name="T67" fmla="*/ 504 h 574"/>
                <a:gd name="T68" fmla="*/ 408 w 718"/>
                <a:gd name="T69" fmla="*/ 524 h 574"/>
                <a:gd name="T70" fmla="*/ 462 w 718"/>
                <a:gd name="T71" fmla="*/ 540 h 574"/>
                <a:gd name="T72" fmla="*/ 516 w 718"/>
                <a:gd name="T73" fmla="*/ 550 h 574"/>
                <a:gd name="T74" fmla="*/ 572 w 718"/>
                <a:gd name="T75" fmla="*/ 556 h 574"/>
                <a:gd name="T76" fmla="*/ 602 w 718"/>
                <a:gd name="T77" fmla="*/ 556 h 574"/>
                <a:gd name="T78" fmla="*/ 708 w 718"/>
                <a:gd name="T79" fmla="*/ 548 h 574"/>
                <a:gd name="T80" fmla="*/ 710 w 718"/>
                <a:gd name="T81" fmla="*/ 548 h 574"/>
                <a:gd name="T82" fmla="*/ 716 w 718"/>
                <a:gd name="T83" fmla="*/ 550 h 574"/>
                <a:gd name="T84" fmla="*/ 718 w 718"/>
                <a:gd name="T85" fmla="*/ 554 h 574"/>
                <a:gd name="T86" fmla="*/ 716 w 718"/>
                <a:gd name="T87" fmla="*/ 560 h 574"/>
                <a:gd name="T88" fmla="*/ 710 w 718"/>
                <a:gd name="T89" fmla="*/ 564 h 574"/>
                <a:gd name="T90" fmla="*/ 684 w 718"/>
                <a:gd name="T91" fmla="*/ 568 h 574"/>
                <a:gd name="T92" fmla="*/ 630 w 718"/>
                <a:gd name="T93" fmla="*/ 574 h 574"/>
                <a:gd name="T94" fmla="*/ 602 w 718"/>
                <a:gd name="T95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8" h="574">
                  <a:moveTo>
                    <a:pt x="602" y="574"/>
                  </a:moveTo>
                  <a:lnTo>
                    <a:pt x="602" y="574"/>
                  </a:lnTo>
                  <a:lnTo>
                    <a:pt x="572" y="574"/>
                  </a:lnTo>
                  <a:lnTo>
                    <a:pt x="542" y="570"/>
                  </a:lnTo>
                  <a:lnTo>
                    <a:pt x="514" y="568"/>
                  </a:lnTo>
                  <a:lnTo>
                    <a:pt x="486" y="562"/>
                  </a:lnTo>
                  <a:lnTo>
                    <a:pt x="458" y="556"/>
                  </a:lnTo>
                  <a:lnTo>
                    <a:pt x="430" y="548"/>
                  </a:lnTo>
                  <a:lnTo>
                    <a:pt x="404" y="540"/>
                  </a:lnTo>
                  <a:lnTo>
                    <a:pt x="376" y="530"/>
                  </a:lnTo>
                  <a:lnTo>
                    <a:pt x="350" y="518"/>
                  </a:lnTo>
                  <a:lnTo>
                    <a:pt x="326" y="506"/>
                  </a:lnTo>
                  <a:lnTo>
                    <a:pt x="300" y="494"/>
                  </a:lnTo>
                  <a:lnTo>
                    <a:pt x="278" y="478"/>
                  </a:lnTo>
                  <a:lnTo>
                    <a:pt x="254" y="464"/>
                  </a:lnTo>
                  <a:lnTo>
                    <a:pt x="232" y="446"/>
                  </a:lnTo>
                  <a:lnTo>
                    <a:pt x="210" y="428"/>
                  </a:lnTo>
                  <a:lnTo>
                    <a:pt x="190" y="410"/>
                  </a:lnTo>
                  <a:lnTo>
                    <a:pt x="170" y="390"/>
                  </a:lnTo>
                  <a:lnTo>
                    <a:pt x="150" y="370"/>
                  </a:lnTo>
                  <a:lnTo>
                    <a:pt x="132" y="350"/>
                  </a:lnTo>
                  <a:lnTo>
                    <a:pt x="116" y="328"/>
                  </a:lnTo>
                  <a:lnTo>
                    <a:pt x="100" y="304"/>
                  </a:lnTo>
                  <a:lnTo>
                    <a:pt x="84" y="280"/>
                  </a:lnTo>
                  <a:lnTo>
                    <a:pt x="70" y="256"/>
                  </a:lnTo>
                  <a:lnTo>
                    <a:pt x="58" y="232"/>
                  </a:lnTo>
                  <a:lnTo>
                    <a:pt x="46" y="206"/>
                  </a:lnTo>
                  <a:lnTo>
                    <a:pt x="36" y="180"/>
                  </a:lnTo>
                  <a:lnTo>
                    <a:pt x="26" y="152"/>
                  </a:lnTo>
                  <a:lnTo>
                    <a:pt x="18" y="124"/>
                  </a:lnTo>
                  <a:lnTo>
                    <a:pt x="12" y="96"/>
                  </a:lnTo>
                  <a:lnTo>
                    <a:pt x="6" y="68"/>
                  </a:lnTo>
                  <a:lnTo>
                    <a:pt x="2" y="4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38"/>
                  </a:lnTo>
                  <a:lnTo>
                    <a:pt x="24" y="66"/>
                  </a:lnTo>
                  <a:lnTo>
                    <a:pt x="28" y="94"/>
                  </a:lnTo>
                  <a:lnTo>
                    <a:pt x="34" y="120"/>
                  </a:lnTo>
                  <a:lnTo>
                    <a:pt x="42" y="148"/>
                  </a:lnTo>
                  <a:lnTo>
                    <a:pt x="52" y="174"/>
                  </a:lnTo>
                  <a:lnTo>
                    <a:pt x="62" y="198"/>
                  </a:lnTo>
                  <a:lnTo>
                    <a:pt x="74" y="224"/>
                  </a:lnTo>
                  <a:lnTo>
                    <a:pt x="86" y="248"/>
                  </a:lnTo>
                  <a:lnTo>
                    <a:pt x="100" y="272"/>
                  </a:lnTo>
                  <a:lnTo>
                    <a:pt x="114" y="294"/>
                  </a:lnTo>
                  <a:lnTo>
                    <a:pt x="130" y="316"/>
                  </a:lnTo>
                  <a:lnTo>
                    <a:pt x="146" y="338"/>
                  </a:lnTo>
                  <a:lnTo>
                    <a:pt x="164" y="360"/>
                  </a:lnTo>
                  <a:lnTo>
                    <a:pt x="182" y="378"/>
                  </a:lnTo>
                  <a:lnTo>
                    <a:pt x="200" y="398"/>
                  </a:lnTo>
                  <a:lnTo>
                    <a:pt x="222" y="416"/>
                  </a:lnTo>
                  <a:lnTo>
                    <a:pt x="242" y="432"/>
                  </a:lnTo>
                  <a:lnTo>
                    <a:pt x="264" y="450"/>
                  </a:lnTo>
                  <a:lnTo>
                    <a:pt x="286" y="464"/>
                  </a:lnTo>
                  <a:lnTo>
                    <a:pt x="310" y="478"/>
                  </a:lnTo>
                  <a:lnTo>
                    <a:pt x="334" y="492"/>
                  </a:lnTo>
                  <a:lnTo>
                    <a:pt x="358" y="504"/>
                  </a:lnTo>
                  <a:lnTo>
                    <a:pt x="384" y="514"/>
                  </a:lnTo>
                  <a:lnTo>
                    <a:pt x="408" y="524"/>
                  </a:lnTo>
                  <a:lnTo>
                    <a:pt x="434" y="532"/>
                  </a:lnTo>
                  <a:lnTo>
                    <a:pt x="462" y="540"/>
                  </a:lnTo>
                  <a:lnTo>
                    <a:pt x="488" y="546"/>
                  </a:lnTo>
                  <a:lnTo>
                    <a:pt x="516" y="550"/>
                  </a:lnTo>
                  <a:lnTo>
                    <a:pt x="544" y="554"/>
                  </a:lnTo>
                  <a:lnTo>
                    <a:pt x="572" y="556"/>
                  </a:lnTo>
                  <a:lnTo>
                    <a:pt x="602" y="556"/>
                  </a:lnTo>
                  <a:lnTo>
                    <a:pt x="602" y="556"/>
                  </a:lnTo>
                  <a:lnTo>
                    <a:pt x="654" y="554"/>
                  </a:lnTo>
                  <a:lnTo>
                    <a:pt x="708" y="548"/>
                  </a:lnTo>
                  <a:lnTo>
                    <a:pt x="708" y="548"/>
                  </a:lnTo>
                  <a:lnTo>
                    <a:pt x="710" y="548"/>
                  </a:lnTo>
                  <a:lnTo>
                    <a:pt x="714" y="548"/>
                  </a:lnTo>
                  <a:lnTo>
                    <a:pt x="716" y="550"/>
                  </a:lnTo>
                  <a:lnTo>
                    <a:pt x="718" y="554"/>
                  </a:lnTo>
                  <a:lnTo>
                    <a:pt x="718" y="554"/>
                  </a:lnTo>
                  <a:lnTo>
                    <a:pt x="718" y="558"/>
                  </a:lnTo>
                  <a:lnTo>
                    <a:pt x="716" y="560"/>
                  </a:lnTo>
                  <a:lnTo>
                    <a:pt x="714" y="562"/>
                  </a:lnTo>
                  <a:lnTo>
                    <a:pt x="710" y="564"/>
                  </a:lnTo>
                  <a:lnTo>
                    <a:pt x="710" y="564"/>
                  </a:lnTo>
                  <a:lnTo>
                    <a:pt x="684" y="568"/>
                  </a:lnTo>
                  <a:lnTo>
                    <a:pt x="656" y="572"/>
                  </a:lnTo>
                  <a:lnTo>
                    <a:pt x="630" y="574"/>
                  </a:lnTo>
                  <a:lnTo>
                    <a:pt x="602" y="574"/>
                  </a:lnTo>
                  <a:lnTo>
                    <a:pt x="602" y="57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79" name="Freeform 77"/>
            <p:cNvSpPr>
              <a:spLocks/>
            </p:cNvSpPr>
            <p:nvPr/>
          </p:nvSpPr>
          <p:spPr bwMode="auto">
            <a:xfrm>
              <a:off x="3481268" y="4686514"/>
              <a:ext cx="127113" cy="57406"/>
            </a:xfrm>
            <a:custGeom>
              <a:avLst/>
              <a:gdLst>
                <a:gd name="T0" fmla="*/ 8 w 62"/>
                <a:gd name="T1" fmla="*/ 28 h 28"/>
                <a:gd name="T2" fmla="*/ 8 w 62"/>
                <a:gd name="T3" fmla="*/ 28 h 28"/>
                <a:gd name="T4" fmla="*/ 4 w 62"/>
                <a:gd name="T5" fmla="*/ 26 h 28"/>
                <a:gd name="T6" fmla="*/ 0 w 62"/>
                <a:gd name="T7" fmla="*/ 22 h 28"/>
                <a:gd name="T8" fmla="*/ 0 w 62"/>
                <a:gd name="T9" fmla="*/ 22 h 28"/>
                <a:gd name="T10" fmla="*/ 0 w 62"/>
                <a:gd name="T11" fmla="*/ 18 h 28"/>
                <a:gd name="T12" fmla="*/ 2 w 62"/>
                <a:gd name="T13" fmla="*/ 14 h 28"/>
                <a:gd name="T14" fmla="*/ 4 w 62"/>
                <a:gd name="T15" fmla="*/ 12 h 28"/>
                <a:gd name="T16" fmla="*/ 8 w 62"/>
                <a:gd name="T17" fmla="*/ 12 h 28"/>
                <a:gd name="T18" fmla="*/ 8 w 62"/>
                <a:gd name="T19" fmla="*/ 12 h 28"/>
                <a:gd name="T20" fmla="*/ 52 w 62"/>
                <a:gd name="T21" fmla="*/ 2 h 28"/>
                <a:gd name="T22" fmla="*/ 52 w 62"/>
                <a:gd name="T23" fmla="*/ 2 h 28"/>
                <a:gd name="T24" fmla="*/ 56 w 62"/>
                <a:gd name="T25" fmla="*/ 0 h 28"/>
                <a:gd name="T26" fmla="*/ 58 w 62"/>
                <a:gd name="T27" fmla="*/ 2 h 28"/>
                <a:gd name="T28" fmla="*/ 62 w 62"/>
                <a:gd name="T29" fmla="*/ 4 h 28"/>
                <a:gd name="T30" fmla="*/ 62 w 62"/>
                <a:gd name="T31" fmla="*/ 8 h 28"/>
                <a:gd name="T32" fmla="*/ 62 w 62"/>
                <a:gd name="T33" fmla="*/ 8 h 28"/>
                <a:gd name="T34" fmla="*/ 62 w 62"/>
                <a:gd name="T35" fmla="*/ 10 h 28"/>
                <a:gd name="T36" fmla="*/ 62 w 62"/>
                <a:gd name="T37" fmla="*/ 14 h 28"/>
                <a:gd name="T38" fmla="*/ 60 w 62"/>
                <a:gd name="T39" fmla="*/ 16 h 28"/>
                <a:gd name="T40" fmla="*/ 56 w 62"/>
                <a:gd name="T41" fmla="*/ 18 h 28"/>
                <a:gd name="T42" fmla="*/ 56 w 62"/>
                <a:gd name="T43" fmla="*/ 18 h 28"/>
                <a:gd name="T44" fmla="*/ 10 w 62"/>
                <a:gd name="T45" fmla="*/ 28 h 28"/>
                <a:gd name="T46" fmla="*/ 10 w 62"/>
                <a:gd name="T47" fmla="*/ 28 h 28"/>
                <a:gd name="T48" fmla="*/ 8 w 62"/>
                <a:gd name="T49" fmla="*/ 28 h 28"/>
                <a:gd name="T50" fmla="*/ 8 w 62"/>
                <a:gd name="T5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28">
                  <a:moveTo>
                    <a:pt x="8" y="28"/>
                  </a:moveTo>
                  <a:lnTo>
                    <a:pt x="8" y="28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2" y="14"/>
                  </a:lnTo>
                  <a:lnTo>
                    <a:pt x="60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28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0" name="Freeform 78"/>
            <p:cNvSpPr>
              <a:spLocks/>
            </p:cNvSpPr>
            <p:nvPr/>
          </p:nvSpPr>
          <p:spPr bwMode="auto">
            <a:xfrm>
              <a:off x="4088130" y="4325678"/>
              <a:ext cx="114812" cy="114812"/>
            </a:xfrm>
            <a:custGeom>
              <a:avLst/>
              <a:gdLst>
                <a:gd name="T0" fmla="*/ 14 w 56"/>
                <a:gd name="T1" fmla="*/ 54 h 56"/>
                <a:gd name="T2" fmla="*/ 14 w 56"/>
                <a:gd name="T3" fmla="*/ 54 h 56"/>
                <a:gd name="T4" fmla="*/ 8 w 56"/>
                <a:gd name="T5" fmla="*/ 56 h 56"/>
                <a:gd name="T6" fmla="*/ 2 w 56"/>
                <a:gd name="T7" fmla="*/ 54 h 56"/>
                <a:gd name="T8" fmla="*/ 2 w 56"/>
                <a:gd name="T9" fmla="*/ 54 h 56"/>
                <a:gd name="T10" fmla="*/ 0 w 56"/>
                <a:gd name="T11" fmla="*/ 50 h 56"/>
                <a:gd name="T12" fmla="*/ 0 w 56"/>
                <a:gd name="T13" fmla="*/ 46 h 56"/>
                <a:gd name="T14" fmla="*/ 0 w 56"/>
                <a:gd name="T15" fmla="*/ 44 h 56"/>
                <a:gd name="T16" fmla="*/ 2 w 56"/>
                <a:gd name="T17" fmla="*/ 40 h 56"/>
                <a:gd name="T18" fmla="*/ 2 w 56"/>
                <a:gd name="T19" fmla="*/ 40 h 56"/>
                <a:gd name="T20" fmla="*/ 22 w 56"/>
                <a:gd name="T21" fmla="*/ 22 h 56"/>
                <a:gd name="T22" fmla="*/ 42 w 56"/>
                <a:gd name="T23" fmla="*/ 4 h 56"/>
                <a:gd name="T24" fmla="*/ 42 w 56"/>
                <a:gd name="T25" fmla="*/ 4 h 56"/>
                <a:gd name="T26" fmla="*/ 44 w 56"/>
                <a:gd name="T27" fmla="*/ 2 h 56"/>
                <a:gd name="T28" fmla="*/ 48 w 56"/>
                <a:gd name="T29" fmla="*/ 0 h 56"/>
                <a:gd name="T30" fmla="*/ 50 w 56"/>
                <a:gd name="T31" fmla="*/ 2 h 56"/>
                <a:gd name="T32" fmla="*/ 54 w 56"/>
                <a:gd name="T33" fmla="*/ 2 h 56"/>
                <a:gd name="T34" fmla="*/ 54 w 56"/>
                <a:gd name="T35" fmla="*/ 2 h 56"/>
                <a:gd name="T36" fmla="*/ 56 w 56"/>
                <a:gd name="T37" fmla="*/ 6 h 56"/>
                <a:gd name="T38" fmla="*/ 56 w 56"/>
                <a:gd name="T39" fmla="*/ 8 h 56"/>
                <a:gd name="T40" fmla="*/ 56 w 56"/>
                <a:gd name="T41" fmla="*/ 12 h 56"/>
                <a:gd name="T42" fmla="*/ 54 w 56"/>
                <a:gd name="T43" fmla="*/ 16 h 56"/>
                <a:gd name="T44" fmla="*/ 54 w 56"/>
                <a:gd name="T45" fmla="*/ 16 h 56"/>
                <a:gd name="T46" fmla="*/ 34 w 56"/>
                <a:gd name="T47" fmla="*/ 34 h 56"/>
                <a:gd name="T48" fmla="*/ 14 w 56"/>
                <a:gd name="T49" fmla="*/ 54 h 56"/>
                <a:gd name="T50" fmla="*/ 14 w 56"/>
                <a:gd name="T51" fmla="*/ 54 h 56"/>
                <a:gd name="T52" fmla="*/ 14 w 56"/>
                <a:gd name="T53" fmla="*/ 54 h 56"/>
                <a:gd name="T54" fmla="*/ 14 w 56"/>
                <a:gd name="T55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" h="56">
                  <a:moveTo>
                    <a:pt x="14" y="54"/>
                  </a:moveTo>
                  <a:lnTo>
                    <a:pt x="14" y="54"/>
                  </a:lnTo>
                  <a:lnTo>
                    <a:pt x="8" y="56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2" y="2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8" y="0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34" y="3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1" name="Freeform 79"/>
            <p:cNvSpPr>
              <a:spLocks/>
            </p:cNvSpPr>
            <p:nvPr/>
          </p:nvSpPr>
          <p:spPr bwMode="auto">
            <a:xfrm>
              <a:off x="2370055" y="2939737"/>
              <a:ext cx="1131716" cy="1431045"/>
            </a:xfrm>
            <a:custGeom>
              <a:avLst/>
              <a:gdLst>
                <a:gd name="T0" fmla="*/ 428 w 552"/>
                <a:gd name="T1" fmla="*/ 698 h 698"/>
                <a:gd name="T2" fmla="*/ 342 w 552"/>
                <a:gd name="T3" fmla="*/ 690 h 698"/>
                <a:gd name="T4" fmla="*/ 262 w 552"/>
                <a:gd name="T5" fmla="*/ 666 h 698"/>
                <a:gd name="T6" fmla="*/ 188 w 552"/>
                <a:gd name="T7" fmla="*/ 626 h 698"/>
                <a:gd name="T8" fmla="*/ 124 w 552"/>
                <a:gd name="T9" fmla="*/ 574 h 698"/>
                <a:gd name="T10" fmla="*/ 72 w 552"/>
                <a:gd name="T11" fmla="*/ 512 h 698"/>
                <a:gd name="T12" fmla="*/ 32 w 552"/>
                <a:gd name="T13" fmla="*/ 440 h 698"/>
                <a:gd name="T14" fmla="*/ 8 w 552"/>
                <a:gd name="T15" fmla="*/ 360 h 698"/>
                <a:gd name="T16" fmla="*/ 0 w 552"/>
                <a:gd name="T17" fmla="*/ 276 h 698"/>
                <a:gd name="T18" fmla="*/ 0 w 552"/>
                <a:gd name="T19" fmla="*/ 238 h 698"/>
                <a:gd name="T20" fmla="*/ 14 w 552"/>
                <a:gd name="T21" fmla="*/ 166 h 698"/>
                <a:gd name="T22" fmla="*/ 40 w 552"/>
                <a:gd name="T23" fmla="*/ 96 h 698"/>
                <a:gd name="T24" fmla="*/ 76 w 552"/>
                <a:gd name="T25" fmla="*/ 32 h 698"/>
                <a:gd name="T26" fmla="*/ 100 w 552"/>
                <a:gd name="T27" fmla="*/ 4 h 698"/>
                <a:gd name="T28" fmla="*/ 106 w 552"/>
                <a:gd name="T29" fmla="*/ 0 h 698"/>
                <a:gd name="T30" fmla="*/ 112 w 552"/>
                <a:gd name="T31" fmla="*/ 2 h 698"/>
                <a:gd name="T32" fmla="*/ 114 w 552"/>
                <a:gd name="T33" fmla="*/ 4 h 698"/>
                <a:gd name="T34" fmla="*/ 114 w 552"/>
                <a:gd name="T35" fmla="*/ 12 h 698"/>
                <a:gd name="T36" fmla="*/ 112 w 552"/>
                <a:gd name="T37" fmla="*/ 14 h 698"/>
                <a:gd name="T38" fmla="*/ 72 w 552"/>
                <a:gd name="T39" fmla="*/ 72 h 698"/>
                <a:gd name="T40" fmla="*/ 42 w 552"/>
                <a:gd name="T41" fmla="*/ 136 h 698"/>
                <a:gd name="T42" fmla="*/ 22 w 552"/>
                <a:gd name="T43" fmla="*/ 204 h 698"/>
                <a:gd name="T44" fmla="*/ 16 w 552"/>
                <a:gd name="T45" fmla="*/ 276 h 698"/>
                <a:gd name="T46" fmla="*/ 18 w 552"/>
                <a:gd name="T47" fmla="*/ 316 h 698"/>
                <a:gd name="T48" fmla="*/ 34 w 552"/>
                <a:gd name="T49" fmla="*/ 396 h 698"/>
                <a:gd name="T50" fmla="*/ 66 w 552"/>
                <a:gd name="T51" fmla="*/ 468 h 698"/>
                <a:gd name="T52" fmla="*/ 110 w 552"/>
                <a:gd name="T53" fmla="*/ 534 h 698"/>
                <a:gd name="T54" fmla="*/ 166 w 552"/>
                <a:gd name="T55" fmla="*/ 588 h 698"/>
                <a:gd name="T56" fmla="*/ 232 w 552"/>
                <a:gd name="T57" fmla="*/ 632 h 698"/>
                <a:gd name="T58" fmla="*/ 306 w 552"/>
                <a:gd name="T59" fmla="*/ 664 h 698"/>
                <a:gd name="T60" fmla="*/ 386 w 552"/>
                <a:gd name="T61" fmla="*/ 680 h 698"/>
                <a:gd name="T62" fmla="*/ 428 w 552"/>
                <a:gd name="T63" fmla="*/ 682 h 698"/>
                <a:gd name="T64" fmla="*/ 484 w 552"/>
                <a:gd name="T65" fmla="*/ 678 h 698"/>
                <a:gd name="T66" fmla="*/ 540 w 552"/>
                <a:gd name="T67" fmla="*/ 666 h 698"/>
                <a:gd name="T68" fmla="*/ 544 w 552"/>
                <a:gd name="T69" fmla="*/ 666 h 698"/>
                <a:gd name="T70" fmla="*/ 550 w 552"/>
                <a:gd name="T71" fmla="*/ 668 h 698"/>
                <a:gd name="T72" fmla="*/ 552 w 552"/>
                <a:gd name="T73" fmla="*/ 672 h 698"/>
                <a:gd name="T74" fmla="*/ 550 w 552"/>
                <a:gd name="T75" fmla="*/ 678 h 698"/>
                <a:gd name="T76" fmla="*/ 546 w 552"/>
                <a:gd name="T77" fmla="*/ 682 h 698"/>
                <a:gd name="T78" fmla="*/ 516 w 552"/>
                <a:gd name="T79" fmla="*/ 690 h 698"/>
                <a:gd name="T80" fmla="*/ 458 w 552"/>
                <a:gd name="T81" fmla="*/ 698 h 698"/>
                <a:gd name="T82" fmla="*/ 428 w 552"/>
                <a:gd name="T83" fmla="*/ 698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52" h="698">
                  <a:moveTo>
                    <a:pt x="428" y="698"/>
                  </a:moveTo>
                  <a:lnTo>
                    <a:pt x="428" y="698"/>
                  </a:lnTo>
                  <a:lnTo>
                    <a:pt x="384" y="696"/>
                  </a:lnTo>
                  <a:lnTo>
                    <a:pt x="342" y="690"/>
                  </a:lnTo>
                  <a:lnTo>
                    <a:pt x="300" y="680"/>
                  </a:lnTo>
                  <a:lnTo>
                    <a:pt x="262" y="666"/>
                  </a:lnTo>
                  <a:lnTo>
                    <a:pt x="224" y="648"/>
                  </a:lnTo>
                  <a:lnTo>
                    <a:pt x="188" y="626"/>
                  </a:lnTo>
                  <a:lnTo>
                    <a:pt x="156" y="602"/>
                  </a:lnTo>
                  <a:lnTo>
                    <a:pt x="124" y="574"/>
                  </a:lnTo>
                  <a:lnTo>
                    <a:pt x="98" y="544"/>
                  </a:lnTo>
                  <a:lnTo>
                    <a:pt x="72" y="512"/>
                  </a:lnTo>
                  <a:lnTo>
                    <a:pt x="52" y="476"/>
                  </a:lnTo>
                  <a:lnTo>
                    <a:pt x="32" y="440"/>
                  </a:lnTo>
                  <a:lnTo>
                    <a:pt x="18" y="400"/>
                  </a:lnTo>
                  <a:lnTo>
                    <a:pt x="8" y="360"/>
                  </a:lnTo>
                  <a:lnTo>
                    <a:pt x="2" y="318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38"/>
                  </a:lnTo>
                  <a:lnTo>
                    <a:pt x="6" y="202"/>
                  </a:lnTo>
                  <a:lnTo>
                    <a:pt x="14" y="166"/>
                  </a:lnTo>
                  <a:lnTo>
                    <a:pt x="26" y="130"/>
                  </a:lnTo>
                  <a:lnTo>
                    <a:pt x="40" y="96"/>
                  </a:lnTo>
                  <a:lnTo>
                    <a:pt x="56" y="64"/>
                  </a:lnTo>
                  <a:lnTo>
                    <a:pt x="76" y="3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2" y="2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4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90" y="42"/>
                  </a:lnTo>
                  <a:lnTo>
                    <a:pt x="72" y="72"/>
                  </a:lnTo>
                  <a:lnTo>
                    <a:pt x="54" y="104"/>
                  </a:lnTo>
                  <a:lnTo>
                    <a:pt x="42" y="136"/>
                  </a:lnTo>
                  <a:lnTo>
                    <a:pt x="30" y="170"/>
                  </a:lnTo>
                  <a:lnTo>
                    <a:pt x="22" y="204"/>
                  </a:lnTo>
                  <a:lnTo>
                    <a:pt x="18" y="240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316"/>
                  </a:lnTo>
                  <a:lnTo>
                    <a:pt x="24" y="356"/>
                  </a:lnTo>
                  <a:lnTo>
                    <a:pt x="34" y="396"/>
                  </a:lnTo>
                  <a:lnTo>
                    <a:pt x="48" y="434"/>
                  </a:lnTo>
                  <a:lnTo>
                    <a:pt x="66" y="468"/>
                  </a:lnTo>
                  <a:lnTo>
                    <a:pt x="86" y="502"/>
                  </a:lnTo>
                  <a:lnTo>
                    <a:pt x="110" y="534"/>
                  </a:lnTo>
                  <a:lnTo>
                    <a:pt x="138" y="562"/>
                  </a:lnTo>
                  <a:lnTo>
                    <a:pt x="166" y="588"/>
                  </a:lnTo>
                  <a:lnTo>
                    <a:pt x="198" y="612"/>
                  </a:lnTo>
                  <a:lnTo>
                    <a:pt x="232" y="632"/>
                  </a:lnTo>
                  <a:lnTo>
                    <a:pt x="268" y="650"/>
                  </a:lnTo>
                  <a:lnTo>
                    <a:pt x="306" y="664"/>
                  </a:lnTo>
                  <a:lnTo>
                    <a:pt x="346" y="674"/>
                  </a:lnTo>
                  <a:lnTo>
                    <a:pt x="386" y="680"/>
                  </a:lnTo>
                  <a:lnTo>
                    <a:pt x="428" y="682"/>
                  </a:lnTo>
                  <a:lnTo>
                    <a:pt x="428" y="682"/>
                  </a:lnTo>
                  <a:lnTo>
                    <a:pt x="456" y="680"/>
                  </a:lnTo>
                  <a:lnTo>
                    <a:pt x="484" y="678"/>
                  </a:lnTo>
                  <a:lnTo>
                    <a:pt x="512" y="672"/>
                  </a:lnTo>
                  <a:lnTo>
                    <a:pt x="540" y="666"/>
                  </a:lnTo>
                  <a:lnTo>
                    <a:pt x="540" y="666"/>
                  </a:lnTo>
                  <a:lnTo>
                    <a:pt x="544" y="666"/>
                  </a:lnTo>
                  <a:lnTo>
                    <a:pt x="546" y="666"/>
                  </a:lnTo>
                  <a:lnTo>
                    <a:pt x="550" y="668"/>
                  </a:lnTo>
                  <a:lnTo>
                    <a:pt x="552" y="672"/>
                  </a:lnTo>
                  <a:lnTo>
                    <a:pt x="552" y="672"/>
                  </a:lnTo>
                  <a:lnTo>
                    <a:pt x="552" y="676"/>
                  </a:lnTo>
                  <a:lnTo>
                    <a:pt x="550" y="678"/>
                  </a:lnTo>
                  <a:lnTo>
                    <a:pt x="548" y="682"/>
                  </a:lnTo>
                  <a:lnTo>
                    <a:pt x="546" y="682"/>
                  </a:lnTo>
                  <a:lnTo>
                    <a:pt x="546" y="682"/>
                  </a:lnTo>
                  <a:lnTo>
                    <a:pt x="516" y="690"/>
                  </a:lnTo>
                  <a:lnTo>
                    <a:pt x="488" y="694"/>
                  </a:lnTo>
                  <a:lnTo>
                    <a:pt x="458" y="698"/>
                  </a:lnTo>
                  <a:lnTo>
                    <a:pt x="428" y="698"/>
                  </a:lnTo>
                  <a:lnTo>
                    <a:pt x="428" y="698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2" name="Freeform 80"/>
            <p:cNvSpPr>
              <a:spLocks noEditPoints="1"/>
            </p:cNvSpPr>
            <p:nvPr/>
          </p:nvSpPr>
          <p:spPr bwMode="auto">
            <a:xfrm>
              <a:off x="4366958" y="3214465"/>
              <a:ext cx="221423" cy="221422"/>
            </a:xfrm>
            <a:custGeom>
              <a:avLst/>
              <a:gdLst>
                <a:gd name="T0" fmla="*/ 54 w 108"/>
                <a:gd name="T1" fmla="*/ 108 h 108"/>
                <a:gd name="T2" fmla="*/ 34 w 108"/>
                <a:gd name="T3" fmla="*/ 104 h 108"/>
                <a:gd name="T4" fmla="*/ 16 w 108"/>
                <a:gd name="T5" fmla="*/ 92 h 108"/>
                <a:gd name="T6" fmla="*/ 4 w 108"/>
                <a:gd name="T7" fmla="*/ 76 h 108"/>
                <a:gd name="T8" fmla="*/ 0 w 108"/>
                <a:gd name="T9" fmla="*/ 54 h 108"/>
                <a:gd name="T10" fmla="*/ 2 w 108"/>
                <a:gd name="T11" fmla="*/ 44 h 108"/>
                <a:gd name="T12" fmla="*/ 10 w 108"/>
                <a:gd name="T13" fmla="*/ 24 h 108"/>
                <a:gd name="T14" fmla="*/ 24 w 108"/>
                <a:gd name="T15" fmla="*/ 10 h 108"/>
                <a:gd name="T16" fmla="*/ 44 w 108"/>
                <a:gd name="T17" fmla="*/ 0 h 108"/>
                <a:gd name="T18" fmla="*/ 54 w 108"/>
                <a:gd name="T19" fmla="*/ 0 h 108"/>
                <a:gd name="T20" fmla="*/ 76 w 108"/>
                <a:gd name="T21" fmla="*/ 4 h 108"/>
                <a:gd name="T22" fmla="*/ 92 w 108"/>
                <a:gd name="T23" fmla="*/ 16 h 108"/>
                <a:gd name="T24" fmla="*/ 104 w 108"/>
                <a:gd name="T25" fmla="*/ 32 h 108"/>
                <a:gd name="T26" fmla="*/ 108 w 108"/>
                <a:gd name="T27" fmla="*/ 54 h 108"/>
                <a:gd name="T28" fmla="*/ 108 w 108"/>
                <a:gd name="T29" fmla="*/ 66 h 108"/>
                <a:gd name="T30" fmla="*/ 100 w 108"/>
                <a:gd name="T31" fmla="*/ 84 h 108"/>
                <a:gd name="T32" fmla="*/ 84 w 108"/>
                <a:gd name="T33" fmla="*/ 100 h 108"/>
                <a:gd name="T34" fmla="*/ 66 w 108"/>
                <a:gd name="T35" fmla="*/ 108 h 108"/>
                <a:gd name="T36" fmla="*/ 54 w 108"/>
                <a:gd name="T37" fmla="*/ 108 h 108"/>
                <a:gd name="T38" fmla="*/ 54 w 108"/>
                <a:gd name="T39" fmla="*/ 16 h 108"/>
                <a:gd name="T40" fmla="*/ 40 w 108"/>
                <a:gd name="T41" fmla="*/ 20 h 108"/>
                <a:gd name="T42" fmla="*/ 28 w 108"/>
                <a:gd name="T43" fmla="*/ 28 h 108"/>
                <a:gd name="T44" fmla="*/ 20 w 108"/>
                <a:gd name="T45" fmla="*/ 40 h 108"/>
                <a:gd name="T46" fmla="*/ 18 w 108"/>
                <a:gd name="T47" fmla="*/ 54 h 108"/>
                <a:gd name="T48" fmla="*/ 18 w 108"/>
                <a:gd name="T49" fmla="*/ 62 h 108"/>
                <a:gd name="T50" fmla="*/ 24 w 108"/>
                <a:gd name="T51" fmla="*/ 74 h 108"/>
                <a:gd name="T52" fmla="*/ 34 w 108"/>
                <a:gd name="T53" fmla="*/ 84 h 108"/>
                <a:gd name="T54" fmla="*/ 46 w 108"/>
                <a:gd name="T55" fmla="*/ 90 h 108"/>
                <a:gd name="T56" fmla="*/ 54 w 108"/>
                <a:gd name="T57" fmla="*/ 92 h 108"/>
                <a:gd name="T58" fmla="*/ 68 w 108"/>
                <a:gd name="T59" fmla="*/ 88 h 108"/>
                <a:gd name="T60" fmla="*/ 80 w 108"/>
                <a:gd name="T61" fmla="*/ 80 h 108"/>
                <a:gd name="T62" fmla="*/ 88 w 108"/>
                <a:gd name="T63" fmla="*/ 68 h 108"/>
                <a:gd name="T64" fmla="*/ 92 w 108"/>
                <a:gd name="T65" fmla="*/ 54 h 108"/>
                <a:gd name="T66" fmla="*/ 90 w 108"/>
                <a:gd name="T67" fmla="*/ 46 h 108"/>
                <a:gd name="T68" fmla="*/ 86 w 108"/>
                <a:gd name="T69" fmla="*/ 34 h 108"/>
                <a:gd name="T70" fmla="*/ 76 w 108"/>
                <a:gd name="T71" fmla="*/ 24 h 108"/>
                <a:gd name="T72" fmla="*/ 62 w 108"/>
                <a:gd name="T73" fmla="*/ 18 h 108"/>
                <a:gd name="T74" fmla="*/ 54 w 108"/>
                <a:gd name="T75" fmla="*/ 1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lnTo>
                    <a:pt x="54" y="108"/>
                  </a:lnTo>
                  <a:lnTo>
                    <a:pt x="44" y="108"/>
                  </a:lnTo>
                  <a:lnTo>
                    <a:pt x="34" y="104"/>
                  </a:lnTo>
                  <a:lnTo>
                    <a:pt x="24" y="100"/>
                  </a:lnTo>
                  <a:lnTo>
                    <a:pt x="16" y="92"/>
                  </a:lnTo>
                  <a:lnTo>
                    <a:pt x="10" y="84"/>
                  </a:lnTo>
                  <a:lnTo>
                    <a:pt x="4" y="76"/>
                  </a:lnTo>
                  <a:lnTo>
                    <a:pt x="2" y="6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44"/>
                  </a:lnTo>
                  <a:lnTo>
                    <a:pt x="4" y="32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6" y="0"/>
                  </a:lnTo>
                  <a:lnTo>
                    <a:pt x="76" y="4"/>
                  </a:lnTo>
                  <a:lnTo>
                    <a:pt x="84" y="10"/>
                  </a:lnTo>
                  <a:lnTo>
                    <a:pt x="92" y="16"/>
                  </a:lnTo>
                  <a:lnTo>
                    <a:pt x="100" y="24"/>
                  </a:lnTo>
                  <a:lnTo>
                    <a:pt x="104" y="32"/>
                  </a:lnTo>
                  <a:lnTo>
                    <a:pt x="108" y="4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66"/>
                  </a:lnTo>
                  <a:lnTo>
                    <a:pt x="104" y="76"/>
                  </a:lnTo>
                  <a:lnTo>
                    <a:pt x="100" y="84"/>
                  </a:lnTo>
                  <a:lnTo>
                    <a:pt x="92" y="92"/>
                  </a:lnTo>
                  <a:lnTo>
                    <a:pt x="84" y="100"/>
                  </a:lnTo>
                  <a:lnTo>
                    <a:pt x="76" y="104"/>
                  </a:lnTo>
                  <a:lnTo>
                    <a:pt x="66" y="108"/>
                  </a:lnTo>
                  <a:lnTo>
                    <a:pt x="54" y="108"/>
                  </a:lnTo>
                  <a:lnTo>
                    <a:pt x="54" y="108"/>
                  </a:lnTo>
                  <a:close/>
                  <a:moveTo>
                    <a:pt x="54" y="16"/>
                  </a:moveTo>
                  <a:lnTo>
                    <a:pt x="54" y="16"/>
                  </a:lnTo>
                  <a:lnTo>
                    <a:pt x="46" y="18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0"/>
                  </a:lnTo>
                  <a:lnTo>
                    <a:pt x="18" y="4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62"/>
                  </a:lnTo>
                  <a:lnTo>
                    <a:pt x="20" y="68"/>
                  </a:lnTo>
                  <a:lnTo>
                    <a:pt x="24" y="74"/>
                  </a:lnTo>
                  <a:lnTo>
                    <a:pt x="28" y="80"/>
                  </a:lnTo>
                  <a:lnTo>
                    <a:pt x="34" y="84"/>
                  </a:lnTo>
                  <a:lnTo>
                    <a:pt x="40" y="88"/>
                  </a:lnTo>
                  <a:lnTo>
                    <a:pt x="46" y="90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62" y="90"/>
                  </a:lnTo>
                  <a:lnTo>
                    <a:pt x="68" y="88"/>
                  </a:lnTo>
                  <a:lnTo>
                    <a:pt x="76" y="84"/>
                  </a:lnTo>
                  <a:lnTo>
                    <a:pt x="80" y="80"/>
                  </a:lnTo>
                  <a:lnTo>
                    <a:pt x="86" y="74"/>
                  </a:lnTo>
                  <a:lnTo>
                    <a:pt x="88" y="68"/>
                  </a:lnTo>
                  <a:lnTo>
                    <a:pt x="90" y="6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0" y="46"/>
                  </a:lnTo>
                  <a:lnTo>
                    <a:pt x="88" y="40"/>
                  </a:lnTo>
                  <a:lnTo>
                    <a:pt x="86" y="34"/>
                  </a:lnTo>
                  <a:lnTo>
                    <a:pt x="80" y="28"/>
                  </a:lnTo>
                  <a:lnTo>
                    <a:pt x="76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4" y="16"/>
                  </a:lnTo>
                  <a:lnTo>
                    <a:pt x="54" y="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3" name="Freeform 81"/>
            <p:cNvSpPr>
              <a:spLocks/>
            </p:cNvSpPr>
            <p:nvPr/>
          </p:nvSpPr>
          <p:spPr bwMode="auto">
            <a:xfrm>
              <a:off x="1923110" y="3243168"/>
              <a:ext cx="225523" cy="278828"/>
            </a:xfrm>
            <a:custGeom>
              <a:avLst/>
              <a:gdLst>
                <a:gd name="T0" fmla="*/ 70 w 110"/>
                <a:gd name="T1" fmla="*/ 116 h 136"/>
                <a:gd name="T2" fmla="*/ 48 w 110"/>
                <a:gd name="T3" fmla="*/ 108 h 136"/>
                <a:gd name="T4" fmla="*/ 36 w 110"/>
                <a:gd name="T5" fmla="*/ 88 h 136"/>
                <a:gd name="T6" fmla="*/ 86 w 110"/>
                <a:gd name="T7" fmla="*/ 72 h 136"/>
                <a:gd name="T8" fmla="*/ 34 w 110"/>
                <a:gd name="T9" fmla="*/ 72 h 136"/>
                <a:gd name="T10" fmla="*/ 34 w 110"/>
                <a:gd name="T11" fmla="*/ 68 h 136"/>
                <a:gd name="T12" fmla="*/ 86 w 110"/>
                <a:gd name="T13" fmla="*/ 64 h 136"/>
                <a:gd name="T14" fmla="*/ 36 w 110"/>
                <a:gd name="T15" fmla="*/ 48 h 136"/>
                <a:gd name="T16" fmla="*/ 42 w 110"/>
                <a:gd name="T17" fmla="*/ 36 h 136"/>
                <a:gd name="T18" fmla="*/ 58 w 110"/>
                <a:gd name="T19" fmla="*/ 22 h 136"/>
                <a:gd name="T20" fmla="*/ 70 w 110"/>
                <a:gd name="T21" fmla="*/ 20 h 136"/>
                <a:gd name="T22" fmla="*/ 86 w 110"/>
                <a:gd name="T23" fmla="*/ 22 h 136"/>
                <a:gd name="T24" fmla="*/ 98 w 110"/>
                <a:gd name="T25" fmla="*/ 34 h 136"/>
                <a:gd name="T26" fmla="*/ 110 w 110"/>
                <a:gd name="T27" fmla="*/ 20 h 136"/>
                <a:gd name="T28" fmla="*/ 92 w 110"/>
                <a:gd name="T29" fmla="*/ 6 h 136"/>
                <a:gd name="T30" fmla="*/ 70 w 110"/>
                <a:gd name="T31" fmla="*/ 0 h 136"/>
                <a:gd name="T32" fmla="*/ 60 w 110"/>
                <a:gd name="T33" fmla="*/ 0 h 136"/>
                <a:gd name="T34" fmla="*/ 44 w 110"/>
                <a:gd name="T35" fmla="*/ 8 h 136"/>
                <a:gd name="T36" fmla="*/ 30 w 110"/>
                <a:gd name="T37" fmla="*/ 20 h 136"/>
                <a:gd name="T38" fmla="*/ 22 w 110"/>
                <a:gd name="T39" fmla="*/ 38 h 136"/>
                <a:gd name="T40" fmla="*/ 0 w 110"/>
                <a:gd name="T41" fmla="*/ 48 h 136"/>
                <a:gd name="T42" fmla="*/ 16 w 110"/>
                <a:gd name="T43" fmla="*/ 64 h 136"/>
                <a:gd name="T44" fmla="*/ 16 w 110"/>
                <a:gd name="T45" fmla="*/ 68 h 136"/>
                <a:gd name="T46" fmla="*/ 16 w 110"/>
                <a:gd name="T47" fmla="*/ 72 h 136"/>
                <a:gd name="T48" fmla="*/ 0 w 110"/>
                <a:gd name="T49" fmla="*/ 88 h 136"/>
                <a:gd name="T50" fmla="*/ 18 w 110"/>
                <a:gd name="T51" fmla="*/ 88 h 136"/>
                <a:gd name="T52" fmla="*/ 26 w 110"/>
                <a:gd name="T53" fmla="*/ 106 h 136"/>
                <a:gd name="T54" fmla="*/ 36 w 110"/>
                <a:gd name="T55" fmla="*/ 122 h 136"/>
                <a:gd name="T56" fmla="*/ 52 w 110"/>
                <a:gd name="T57" fmla="*/ 132 h 136"/>
                <a:gd name="T58" fmla="*/ 70 w 110"/>
                <a:gd name="T59" fmla="*/ 136 h 136"/>
                <a:gd name="T60" fmla="*/ 82 w 110"/>
                <a:gd name="T61" fmla="*/ 134 h 136"/>
                <a:gd name="T62" fmla="*/ 102 w 110"/>
                <a:gd name="T63" fmla="*/ 124 h 136"/>
                <a:gd name="T64" fmla="*/ 98 w 110"/>
                <a:gd name="T65" fmla="*/ 102 h 136"/>
                <a:gd name="T66" fmla="*/ 92 w 110"/>
                <a:gd name="T67" fmla="*/ 108 h 136"/>
                <a:gd name="T68" fmla="*/ 78 w 110"/>
                <a:gd name="T69" fmla="*/ 116 h 136"/>
                <a:gd name="T70" fmla="*/ 70 w 110"/>
                <a:gd name="T71" fmla="*/ 11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70" y="116"/>
                  </a:moveTo>
                  <a:lnTo>
                    <a:pt x="70" y="116"/>
                  </a:lnTo>
                  <a:lnTo>
                    <a:pt x="58" y="114"/>
                  </a:lnTo>
                  <a:lnTo>
                    <a:pt x="48" y="108"/>
                  </a:lnTo>
                  <a:lnTo>
                    <a:pt x="42" y="98"/>
                  </a:lnTo>
                  <a:lnTo>
                    <a:pt x="36" y="88"/>
                  </a:lnTo>
                  <a:lnTo>
                    <a:pt x="86" y="88"/>
                  </a:lnTo>
                  <a:lnTo>
                    <a:pt x="86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4"/>
                  </a:lnTo>
                  <a:lnTo>
                    <a:pt x="86" y="64"/>
                  </a:lnTo>
                  <a:lnTo>
                    <a:pt x="8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2" y="36"/>
                  </a:lnTo>
                  <a:lnTo>
                    <a:pt x="48" y="28"/>
                  </a:lnTo>
                  <a:lnTo>
                    <a:pt x="58" y="22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8" y="20"/>
                  </a:lnTo>
                  <a:lnTo>
                    <a:pt x="86" y="22"/>
                  </a:lnTo>
                  <a:lnTo>
                    <a:pt x="92" y="28"/>
                  </a:lnTo>
                  <a:lnTo>
                    <a:pt x="98" y="34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02" y="12"/>
                  </a:lnTo>
                  <a:lnTo>
                    <a:pt x="92" y="6"/>
                  </a:lnTo>
                  <a:lnTo>
                    <a:pt x="8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0" y="0"/>
                  </a:lnTo>
                  <a:lnTo>
                    <a:pt x="52" y="4"/>
                  </a:lnTo>
                  <a:lnTo>
                    <a:pt x="44" y="8"/>
                  </a:lnTo>
                  <a:lnTo>
                    <a:pt x="36" y="14"/>
                  </a:lnTo>
                  <a:lnTo>
                    <a:pt x="30" y="20"/>
                  </a:lnTo>
                  <a:lnTo>
                    <a:pt x="26" y="28"/>
                  </a:lnTo>
                  <a:lnTo>
                    <a:pt x="22" y="3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2" y="98"/>
                  </a:lnTo>
                  <a:lnTo>
                    <a:pt x="26" y="106"/>
                  </a:lnTo>
                  <a:lnTo>
                    <a:pt x="30" y="114"/>
                  </a:lnTo>
                  <a:lnTo>
                    <a:pt x="36" y="122"/>
                  </a:lnTo>
                  <a:lnTo>
                    <a:pt x="44" y="128"/>
                  </a:lnTo>
                  <a:lnTo>
                    <a:pt x="52" y="132"/>
                  </a:lnTo>
                  <a:lnTo>
                    <a:pt x="60" y="134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2" y="134"/>
                  </a:lnTo>
                  <a:lnTo>
                    <a:pt x="92" y="130"/>
                  </a:lnTo>
                  <a:lnTo>
                    <a:pt x="102" y="124"/>
                  </a:lnTo>
                  <a:lnTo>
                    <a:pt x="110" y="114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2" y="108"/>
                  </a:lnTo>
                  <a:lnTo>
                    <a:pt x="86" y="112"/>
                  </a:lnTo>
                  <a:lnTo>
                    <a:pt x="78" y="116"/>
                  </a:lnTo>
                  <a:lnTo>
                    <a:pt x="70" y="116"/>
                  </a:lnTo>
                  <a:lnTo>
                    <a:pt x="70" y="116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4" name="Freeform 82"/>
            <p:cNvSpPr>
              <a:spLocks noEditPoints="1"/>
            </p:cNvSpPr>
            <p:nvPr/>
          </p:nvSpPr>
          <p:spPr bwMode="auto">
            <a:xfrm>
              <a:off x="2677586" y="2591202"/>
              <a:ext cx="180418" cy="348535"/>
            </a:xfrm>
            <a:custGeom>
              <a:avLst/>
              <a:gdLst>
                <a:gd name="T0" fmla="*/ 78 w 88"/>
                <a:gd name="T1" fmla="*/ 92 h 170"/>
                <a:gd name="T2" fmla="*/ 54 w 88"/>
                <a:gd name="T3" fmla="*/ 76 h 170"/>
                <a:gd name="T4" fmla="*/ 54 w 88"/>
                <a:gd name="T5" fmla="*/ 30 h 170"/>
                <a:gd name="T6" fmla="*/ 64 w 88"/>
                <a:gd name="T7" fmla="*/ 36 h 170"/>
                <a:gd name="T8" fmla="*/ 70 w 88"/>
                <a:gd name="T9" fmla="*/ 44 h 170"/>
                <a:gd name="T10" fmla="*/ 88 w 88"/>
                <a:gd name="T11" fmla="*/ 56 h 170"/>
                <a:gd name="T12" fmla="*/ 88 w 88"/>
                <a:gd name="T13" fmla="*/ 54 h 170"/>
                <a:gd name="T14" fmla="*/ 86 w 88"/>
                <a:gd name="T15" fmla="*/ 38 h 170"/>
                <a:gd name="T16" fmla="*/ 78 w 88"/>
                <a:gd name="T17" fmla="*/ 24 h 170"/>
                <a:gd name="T18" fmla="*/ 74 w 88"/>
                <a:gd name="T19" fmla="*/ 20 h 170"/>
                <a:gd name="T20" fmla="*/ 54 w 88"/>
                <a:gd name="T21" fmla="*/ 14 h 170"/>
                <a:gd name="T22" fmla="*/ 36 w 88"/>
                <a:gd name="T23" fmla="*/ 0 h 170"/>
                <a:gd name="T24" fmla="*/ 36 w 88"/>
                <a:gd name="T25" fmla="*/ 14 h 170"/>
                <a:gd name="T26" fmla="*/ 16 w 88"/>
                <a:gd name="T27" fmla="*/ 24 h 170"/>
                <a:gd name="T28" fmla="*/ 10 w 88"/>
                <a:gd name="T29" fmla="*/ 30 h 170"/>
                <a:gd name="T30" fmla="*/ 2 w 88"/>
                <a:gd name="T31" fmla="*/ 44 h 170"/>
                <a:gd name="T32" fmla="*/ 2 w 88"/>
                <a:gd name="T33" fmla="*/ 52 h 170"/>
                <a:gd name="T34" fmla="*/ 6 w 88"/>
                <a:gd name="T35" fmla="*/ 66 h 170"/>
                <a:gd name="T36" fmla="*/ 14 w 88"/>
                <a:gd name="T37" fmla="*/ 78 h 170"/>
                <a:gd name="T38" fmla="*/ 24 w 88"/>
                <a:gd name="T39" fmla="*/ 86 h 170"/>
                <a:gd name="T40" fmla="*/ 36 w 88"/>
                <a:gd name="T41" fmla="*/ 138 h 170"/>
                <a:gd name="T42" fmla="*/ 30 w 88"/>
                <a:gd name="T43" fmla="*/ 134 h 170"/>
                <a:gd name="T44" fmla="*/ 24 w 88"/>
                <a:gd name="T45" fmla="*/ 132 h 170"/>
                <a:gd name="T46" fmla="*/ 18 w 88"/>
                <a:gd name="T47" fmla="*/ 124 h 170"/>
                <a:gd name="T48" fmla="*/ 0 w 88"/>
                <a:gd name="T49" fmla="*/ 114 h 170"/>
                <a:gd name="T50" fmla="*/ 0 w 88"/>
                <a:gd name="T51" fmla="*/ 114 h 170"/>
                <a:gd name="T52" fmla="*/ 4 w 88"/>
                <a:gd name="T53" fmla="*/ 132 h 170"/>
                <a:gd name="T54" fmla="*/ 14 w 88"/>
                <a:gd name="T55" fmla="*/ 144 h 170"/>
                <a:gd name="T56" fmla="*/ 24 w 88"/>
                <a:gd name="T57" fmla="*/ 152 h 170"/>
                <a:gd name="T58" fmla="*/ 36 w 88"/>
                <a:gd name="T59" fmla="*/ 170 h 170"/>
                <a:gd name="T60" fmla="*/ 54 w 88"/>
                <a:gd name="T61" fmla="*/ 156 h 170"/>
                <a:gd name="T62" fmla="*/ 66 w 88"/>
                <a:gd name="T63" fmla="*/ 152 h 170"/>
                <a:gd name="T64" fmla="*/ 76 w 88"/>
                <a:gd name="T65" fmla="*/ 146 h 170"/>
                <a:gd name="T66" fmla="*/ 86 w 88"/>
                <a:gd name="T67" fmla="*/ 134 h 170"/>
                <a:gd name="T68" fmla="*/ 88 w 88"/>
                <a:gd name="T69" fmla="*/ 118 h 170"/>
                <a:gd name="T70" fmla="*/ 88 w 88"/>
                <a:gd name="T71" fmla="*/ 112 h 170"/>
                <a:gd name="T72" fmla="*/ 84 w 88"/>
                <a:gd name="T73" fmla="*/ 98 h 170"/>
                <a:gd name="T74" fmla="*/ 78 w 88"/>
                <a:gd name="T75" fmla="*/ 92 h 170"/>
                <a:gd name="T76" fmla="*/ 36 w 88"/>
                <a:gd name="T77" fmla="*/ 70 h 170"/>
                <a:gd name="T78" fmla="*/ 26 w 88"/>
                <a:gd name="T79" fmla="*/ 64 h 170"/>
                <a:gd name="T80" fmla="*/ 20 w 88"/>
                <a:gd name="T81" fmla="*/ 52 h 170"/>
                <a:gd name="T82" fmla="*/ 22 w 88"/>
                <a:gd name="T83" fmla="*/ 42 h 170"/>
                <a:gd name="T84" fmla="*/ 26 w 88"/>
                <a:gd name="T85" fmla="*/ 36 h 170"/>
                <a:gd name="T86" fmla="*/ 36 w 88"/>
                <a:gd name="T87" fmla="*/ 30 h 170"/>
                <a:gd name="T88" fmla="*/ 64 w 88"/>
                <a:gd name="T89" fmla="*/ 134 h 170"/>
                <a:gd name="T90" fmla="*/ 60 w 88"/>
                <a:gd name="T91" fmla="*/ 136 h 170"/>
                <a:gd name="T92" fmla="*/ 54 w 88"/>
                <a:gd name="T93" fmla="*/ 96 h 170"/>
                <a:gd name="T94" fmla="*/ 60 w 88"/>
                <a:gd name="T95" fmla="*/ 100 h 170"/>
                <a:gd name="T96" fmla="*/ 64 w 88"/>
                <a:gd name="T97" fmla="*/ 104 h 170"/>
                <a:gd name="T98" fmla="*/ 72 w 88"/>
                <a:gd name="T99" fmla="*/ 118 h 170"/>
                <a:gd name="T100" fmla="*/ 70 w 88"/>
                <a:gd name="T101" fmla="*/ 128 h 170"/>
                <a:gd name="T102" fmla="*/ 64 w 88"/>
                <a:gd name="T103" fmla="*/ 13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" h="170">
                  <a:moveTo>
                    <a:pt x="78" y="92"/>
                  </a:moveTo>
                  <a:lnTo>
                    <a:pt x="78" y="92"/>
                  </a:lnTo>
                  <a:lnTo>
                    <a:pt x="68" y="84"/>
                  </a:lnTo>
                  <a:lnTo>
                    <a:pt x="54" y="76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70" y="44"/>
                  </a:lnTo>
                  <a:lnTo>
                    <a:pt x="70" y="56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46"/>
                  </a:lnTo>
                  <a:lnTo>
                    <a:pt x="86" y="38"/>
                  </a:lnTo>
                  <a:lnTo>
                    <a:pt x="84" y="32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4" y="20"/>
                  </a:lnTo>
                  <a:lnTo>
                    <a:pt x="68" y="18"/>
                  </a:lnTo>
                  <a:lnTo>
                    <a:pt x="54" y="14"/>
                  </a:lnTo>
                  <a:lnTo>
                    <a:pt x="54" y="0"/>
                  </a:lnTo>
                  <a:lnTo>
                    <a:pt x="36" y="0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24" y="16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30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0" y="72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24" y="86"/>
                  </a:lnTo>
                  <a:lnTo>
                    <a:pt x="36" y="92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0" y="134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0" y="128"/>
                  </a:lnTo>
                  <a:lnTo>
                    <a:pt x="18" y="124"/>
                  </a:lnTo>
                  <a:lnTo>
                    <a:pt x="18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4" y="132"/>
                  </a:lnTo>
                  <a:lnTo>
                    <a:pt x="8" y="138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24" y="152"/>
                  </a:lnTo>
                  <a:lnTo>
                    <a:pt x="36" y="154"/>
                  </a:lnTo>
                  <a:lnTo>
                    <a:pt x="36" y="170"/>
                  </a:lnTo>
                  <a:lnTo>
                    <a:pt x="54" y="170"/>
                  </a:lnTo>
                  <a:lnTo>
                    <a:pt x="54" y="156"/>
                  </a:lnTo>
                  <a:lnTo>
                    <a:pt x="54" y="156"/>
                  </a:lnTo>
                  <a:lnTo>
                    <a:pt x="66" y="152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82" y="140"/>
                  </a:lnTo>
                  <a:lnTo>
                    <a:pt x="86" y="134"/>
                  </a:lnTo>
                  <a:lnTo>
                    <a:pt x="88" y="126"/>
                  </a:lnTo>
                  <a:lnTo>
                    <a:pt x="88" y="118"/>
                  </a:lnTo>
                  <a:lnTo>
                    <a:pt x="88" y="118"/>
                  </a:lnTo>
                  <a:lnTo>
                    <a:pt x="88" y="112"/>
                  </a:lnTo>
                  <a:lnTo>
                    <a:pt x="86" y="104"/>
                  </a:lnTo>
                  <a:lnTo>
                    <a:pt x="84" y="98"/>
                  </a:lnTo>
                  <a:lnTo>
                    <a:pt x="78" y="92"/>
                  </a:lnTo>
                  <a:lnTo>
                    <a:pt x="78" y="92"/>
                  </a:lnTo>
                  <a:close/>
                  <a:moveTo>
                    <a:pt x="36" y="70"/>
                  </a:moveTo>
                  <a:lnTo>
                    <a:pt x="36" y="7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2" y="58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42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0" y="32"/>
                  </a:lnTo>
                  <a:lnTo>
                    <a:pt x="36" y="30"/>
                  </a:lnTo>
                  <a:lnTo>
                    <a:pt x="36" y="70"/>
                  </a:lnTo>
                  <a:close/>
                  <a:moveTo>
                    <a:pt x="64" y="134"/>
                  </a:moveTo>
                  <a:lnTo>
                    <a:pt x="64" y="134"/>
                  </a:lnTo>
                  <a:lnTo>
                    <a:pt x="60" y="136"/>
                  </a:lnTo>
                  <a:lnTo>
                    <a:pt x="54" y="138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70" y="110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0" y="128"/>
                  </a:lnTo>
                  <a:lnTo>
                    <a:pt x="64" y="134"/>
                  </a:lnTo>
                  <a:lnTo>
                    <a:pt x="64" y="134"/>
                  </a:lnTo>
                  <a:close/>
                </a:path>
              </a:pathLst>
            </a:custGeom>
            <a:solidFill>
              <a:srgbClr val="4D4D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5" name="Freeform 83"/>
            <p:cNvSpPr>
              <a:spLocks/>
            </p:cNvSpPr>
            <p:nvPr/>
          </p:nvSpPr>
          <p:spPr bwMode="auto">
            <a:xfrm>
              <a:off x="1837001" y="2824926"/>
              <a:ext cx="2747280" cy="1931296"/>
            </a:xfrm>
            <a:custGeom>
              <a:avLst/>
              <a:gdLst>
                <a:gd name="T0" fmla="*/ 10 w 1340"/>
                <a:gd name="T1" fmla="*/ 942 h 942"/>
                <a:gd name="T2" fmla="*/ 6 w 1340"/>
                <a:gd name="T3" fmla="*/ 942 h 942"/>
                <a:gd name="T4" fmla="*/ 2 w 1340"/>
                <a:gd name="T5" fmla="*/ 936 h 942"/>
                <a:gd name="T6" fmla="*/ 0 w 1340"/>
                <a:gd name="T7" fmla="*/ 932 h 942"/>
                <a:gd name="T8" fmla="*/ 4 w 1340"/>
                <a:gd name="T9" fmla="*/ 924 h 942"/>
                <a:gd name="T10" fmla="*/ 10 w 1340"/>
                <a:gd name="T11" fmla="*/ 922 h 942"/>
                <a:gd name="T12" fmla="*/ 364 w 1340"/>
                <a:gd name="T13" fmla="*/ 922 h 942"/>
                <a:gd name="T14" fmla="*/ 380 w 1340"/>
                <a:gd name="T15" fmla="*/ 918 h 942"/>
                <a:gd name="T16" fmla="*/ 394 w 1340"/>
                <a:gd name="T17" fmla="*/ 910 h 942"/>
                <a:gd name="T18" fmla="*/ 402 w 1340"/>
                <a:gd name="T19" fmla="*/ 896 h 942"/>
                <a:gd name="T20" fmla="*/ 406 w 1340"/>
                <a:gd name="T21" fmla="*/ 878 h 942"/>
                <a:gd name="T22" fmla="*/ 406 w 1340"/>
                <a:gd name="T23" fmla="*/ 638 h 942"/>
                <a:gd name="T24" fmla="*/ 412 w 1340"/>
                <a:gd name="T25" fmla="*/ 614 h 942"/>
                <a:gd name="T26" fmla="*/ 424 w 1340"/>
                <a:gd name="T27" fmla="*/ 594 h 942"/>
                <a:gd name="T28" fmla="*/ 444 w 1340"/>
                <a:gd name="T29" fmla="*/ 580 h 942"/>
                <a:gd name="T30" fmla="*/ 470 w 1340"/>
                <a:gd name="T31" fmla="*/ 574 h 942"/>
                <a:gd name="T32" fmla="*/ 710 w 1340"/>
                <a:gd name="T33" fmla="*/ 574 h 942"/>
                <a:gd name="T34" fmla="*/ 726 w 1340"/>
                <a:gd name="T35" fmla="*/ 572 h 942"/>
                <a:gd name="T36" fmla="*/ 740 w 1340"/>
                <a:gd name="T37" fmla="*/ 562 h 942"/>
                <a:gd name="T38" fmla="*/ 750 w 1340"/>
                <a:gd name="T39" fmla="*/ 548 h 942"/>
                <a:gd name="T40" fmla="*/ 754 w 1340"/>
                <a:gd name="T41" fmla="*/ 532 h 942"/>
                <a:gd name="T42" fmla="*/ 754 w 1340"/>
                <a:gd name="T43" fmla="*/ 280 h 942"/>
                <a:gd name="T44" fmla="*/ 758 w 1340"/>
                <a:gd name="T45" fmla="*/ 256 h 942"/>
                <a:gd name="T46" fmla="*/ 772 w 1340"/>
                <a:gd name="T47" fmla="*/ 236 h 942"/>
                <a:gd name="T48" fmla="*/ 792 w 1340"/>
                <a:gd name="T49" fmla="*/ 222 h 942"/>
                <a:gd name="T50" fmla="*/ 816 w 1340"/>
                <a:gd name="T51" fmla="*/ 218 h 942"/>
                <a:gd name="T52" fmla="*/ 1054 w 1340"/>
                <a:gd name="T53" fmla="*/ 218 h 942"/>
                <a:gd name="T54" fmla="*/ 1076 w 1340"/>
                <a:gd name="T55" fmla="*/ 214 h 942"/>
                <a:gd name="T56" fmla="*/ 1120 w 1340"/>
                <a:gd name="T57" fmla="*/ 196 h 942"/>
                <a:gd name="T58" fmla="*/ 1138 w 1340"/>
                <a:gd name="T59" fmla="*/ 184 h 942"/>
                <a:gd name="T60" fmla="*/ 1324 w 1340"/>
                <a:gd name="T61" fmla="*/ 2 h 942"/>
                <a:gd name="T62" fmla="*/ 1330 w 1340"/>
                <a:gd name="T63" fmla="*/ 0 h 942"/>
                <a:gd name="T64" fmla="*/ 1338 w 1340"/>
                <a:gd name="T65" fmla="*/ 2 h 942"/>
                <a:gd name="T66" fmla="*/ 1340 w 1340"/>
                <a:gd name="T67" fmla="*/ 6 h 942"/>
                <a:gd name="T68" fmla="*/ 1340 w 1340"/>
                <a:gd name="T69" fmla="*/ 14 h 942"/>
                <a:gd name="T70" fmla="*/ 1152 w 1340"/>
                <a:gd name="T71" fmla="*/ 198 h 942"/>
                <a:gd name="T72" fmla="*/ 1142 w 1340"/>
                <a:gd name="T73" fmla="*/ 206 h 942"/>
                <a:gd name="T74" fmla="*/ 1106 w 1340"/>
                <a:gd name="T75" fmla="*/ 226 h 942"/>
                <a:gd name="T76" fmla="*/ 1066 w 1340"/>
                <a:gd name="T77" fmla="*/ 236 h 942"/>
                <a:gd name="T78" fmla="*/ 816 w 1340"/>
                <a:gd name="T79" fmla="*/ 238 h 942"/>
                <a:gd name="T80" fmla="*/ 808 w 1340"/>
                <a:gd name="T81" fmla="*/ 238 h 942"/>
                <a:gd name="T82" fmla="*/ 792 w 1340"/>
                <a:gd name="T83" fmla="*/ 244 h 942"/>
                <a:gd name="T84" fmla="*/ 780 w 1340"/>
                <a:gd name="T85" fmla="*/ 256 h 942"/>
                <a:gd name="T86" fmla="*/ 774 w 1340"/>
                <a:gd name="T87" fmla="*/ 272 h 942"/>
                <a:gd name="T88" fmla="*/ 774 w 1340"/>
                <a:gd name="T89" fmla="*/ 532 h 942"/>
                <a:gd name="T90" fmla="*/ 772 w 1340"/>
                <a:gd name="T91" fmla="*/ 544 h 942"/>
                <a:gd name="T92" fmla="*/ 762 w 1340"/>
                <a:gd name="T93" fmla="*/ 566 h 942"/>
                <a:gd name="T94" fmla="*/ 746 w 1340"/>
                <a:gd name="T95" fmla="*/ 584 h 942"/>
                <a:gd name="T96" fmla="*/ 722 w 1340"/>
                <a:gd name="T97" fmla="*/ 594 h 942"/>
                <a:gd name="T98" fmla="*/ 470 w 1340"/>
                <a:gd name="T99" fmla="*/ 594 h 942"/>
                <a:gd name="T100" fmla="*/ 460 w 1340"/>
                <a:gd name="T101" fmla="*/ 596 h 942"/>
                <a:gd name="T102" fmla="*/ 446 w 1340"/>
                <a:gd name="T103" fmla="*/ 602 h 942"/>
                <a:gd name="T104" fmla="*/ 434 w 1340"/>
                <a:gd name="T105" fmla="*/ 614 h 942"/>
                <a:gd name="T106" fmla="*/ 428 w 1340"/>
                <a:gd name="T107" fmla="*/ 630 h 942"/>
                <a:gd name="T108" fmla="*/ 426 w 1340"/>
                <a:gd name="T109" fmla="*/ 878 h 942"/>
                <a:gd name="T110" fmla="*/ 426 w 1340"/>
                <a:gd name="T111" fmla="*/ 892 h 942"/>
                <a:gd name="T112" fmla="*/ 416 w 1340"/>
                <a:gd name="T113" fmla="*/ 914 h 942"/>
                <a:gd name="T114" fmla="*/ 398 w 1340"/>
                <a:gd name="T115" fmla="*/ 932 h 942"/>
                <a:gd name="T116" fmla="*/ 376 w 1340"/>
                <a:gd name="T117" fmla="*/ 940 h 942"/>
                <a:gd name="T118" fmla="*/ 364 w 1340"/>
                <a:gd name="T119" fmla="*/ 942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40" h="942">
                  <a:moveTo>
                    <a:pt x="364" y="942"/>
                  </a:moveTo>
                  <a:lnTo>
                    <a:pt x="10" y="942"/>
                  </a:lnTo>
                  <a:lnTo>
                    <a:pt x="10" y="942"/>
                  </a:lnTo>
                  <a:lnTo>
                    <a:pt x="6" y="942"/>
                  </a:lnTo>
                  <a:lnTo>
                    <a:pt x="4" y="938"/>
                  </a:lnTo>
                  <a:lnTo>
                    <a:pt x="2" y="936"/>
                  </a:lnTo>
                  <a:lnTo>
                    <a:pt x="0" y="932"/>
                  </a:lnTo>
                  <a:lnTo>
                    <a:pt x="0" y="932"/>
                  </a:lnTo>
                  <a:lnTo>
                    <a:pt x="2" y="928"/>
                  </a:lnTo>
                  <a:lnTo>
                    <a:pt x="4" y="924"/>
                  </a:lnTo>
                  <a:lnTo>
                    <a:pt x="6" y="922"/>
                  </a:lnTo>
                  <a:lnTo>
                    <a:pt x="10" y="922"/>
                  </a:lnTo>
                  <a:lnTo>
                    <a:pt x="364" y="922"/>
                  </a:lnTo>
                  <a:lnTo>
                    <a:pt x="364" y="922"/>
                  </a:lnTo>
                  <a:lnTo>
                    <a:pt x="372" y="920"/>
                  </a:lnTo>
                  <a:lnTo>
                    <a:pt x="380" y="918"/>
                  </a:lnTo>
                  <a:lnTo>
                    <a:pt x="388" y="914"/>
                  </a:lnTo>
                  <a:lnTo>
                    <a:pt x="394" y="910"/>
                  </a:lnTo>
                  <a:lnTo>
                    <a:pt x="398" y="902"/>
                  </a:lnTo>
                  <a:lnTo>
                    <a:pt x="402" y="896"/>
                  </a:lnTo>
                  <a:lnTo>
                    <a:pt x="406" y="888"/>
                  </a:lnTo>
                  <a:lnTo>
                    <a:pt x="406" y="878"/>
                  </a:lnTo>
                  <a:lnTo>
                    <a:pt x="406" y="638"/>
                  </a:lnTo>
                  <a:lnTo>
                    <a:pt x="406" y="638"/>
                  </a:lnTo>
                  <a:lnTo>
                    <a:pt x="408" y="626"/>
                  </a:lnTo>
                  <a:lnTo>
                    <a:pt x="412" y="614"/>
                  </a:lnTo>
                  <a:lnTo>
                    <a:pt x="418" y="602"/>
                  </a:lnTo>
                  <a:lnTo>
                    <a:pt x="424" y="594"/>
                  </a:lnTo>
                  <a:lnTo>
                    <a:pt x="434" y="586"/>
                  </a:lnTo>
                  <a:lnTo>
                    <a:pt x="444" y="580"/>
                  </a:lnTo>
                  <a:lnTo>
                    <a:pt x="456" y="576"/>
                  </a:lnTo>
                  <a:lnTo>
                    <a:pt x="470" y="574"/>
                  </a:lnTo>
                  <a:lnTo>
                    <a:pt x="710" y="574"/>
                  </a:lnTo>
                  <a:lnTo>
                    <a:pt x="710" y="574"/>
                  </a:lnTo>
                  <a:lnTo>
                    <a:pt x="718" y="574"/>
                  </a:lnTo>
                  <a:lnTo>
                    <a:pt x="726" y="572"/>
                  </a:lnTo>
                  <a:lnTo>
                    <a:pt x="734" y="568"/>
                  </a:lnTo>
                  <a:lnTo>
                    <a:pt x="740" y="562"/>
                  </a:lnTo>
                  <a:lnTo>
                    <a:pt x="746" y="556"/>
                  </a:lnTo>
                  <a:lnTo>
                    <a:pt x="750" y="548"/>
                  </a:lnTo>
                  <a:lnTo>
                    <a:pt x="752" y="540"/>
                  </a:lnTo>
                  <a:lnTo>
                    <a:pt x="754" y="532"/>
                  </a:lnTo>
                  <a:lnTo>
                    <a:pt x="754" y="280"/>
                  </a:lnTo>
                  <a:lnTo>
                    <a:pt x="754" y="280"/>
                  </a:lnTo>
                  <a:lnTo>
                    <a:pt x="754" y="268"/>
                  </a:lnTo>
                  <a:lnTo>
                    <a:pt x="758" y="256"/>
                  </a:lnTo>
                  <a:lnTo>
                    <a:pt x="764" y="246"/>
                  </a:lnTo>
                  <a:lnTo>
                    <a:pt x="772" y="236"/>
                  </a:lnTo>
                  <a:lnTo>
                    <a:pt x="780" y="228"/>
                  </a:lnTo>
                  <a:lnTo>
                    <a:pt x="792" y="222"/>
                  </a:lnTo>
                  <a:lnTo>
                    <a:pt x="804" y="218"/>
                  </a:lnTo>
                  <a:lnTo>
                    <a:pt x="816" y="218"/>
                  </a:lnTo>
                  <a:lnTo>
                    <a:pt x="1054" y="218"/>
                  </a:lnTo>
                  <a:lnTo>
                    <a:pt x="1054" y="218"/>
                  </a:lnTo>
                  <a:lnTo>
                    <a:pt x="1064" y="216"/>
                  </a:lnTo>
                  <a:lnTo>
                    <a:pt x="1076" y="214"/>
                  </a:lnTo>
                  <a:lnTo>
                    <a:pt x="1100" y="208"/>
                  </a:lnTo>
                  <a:lnTo>
                    <a:pt x="1120" y="196"/>
                  </a:lnTo>
                  <a:lnTo>
                    <a:pt x="1130" y="190"/>
                  </a:lnTo>
                  <a:lnTo>
                    <a:pt x="1138" y="184"/>
                  </a:lnTo>
                  <a:lnTo>
                    <a:pt x="1324" y="2"/>
                  </a:lnTo>
                  <a:lnTo>
                    <a:pt x="1324" y="2"/>
                  </a:lnTo>
                  <a:lnTo>
                    <a:pt x="1328" y="0"/>
                  </a:lnTo>
                  <a:lnTo>
                    <a:pt x="1330" y="0"/>
                  </a:lnTo>
                  <a:lnTo>
                    <a:pt x="1334" y="0"/>
                  </a:lnTo>
                  <a:lnTo>
                    <a:pt x="1338" y="2"/>
                  </a:lnTo>
                  <a:lnTo>
                    <a:pt x="1338" y="2"/>
                  </a:lnTo>
                  <a:lnTo>
                    <a:pt x="1340" y="6"/>
                  </a:lnTo>
                  <a:lnTo>
                    <a:pt x="1340" y="10"/>
                  </a:lnTo>
                  <a:lnTo>
                    <a:pt x="1340" y="14"/>
                  </a:lnTo>
                  <a:lnTo>
                    <a:pt x="1338" y="16"/>
                  </a:lnTo>
                  <a:lnTo>
                    <a:pt x="1152" y="198"/>
                  </a:lnTo>
                  <a:lnTo>
                    <a:pt x="1152" y="198"/>
                  </a:lnTo>
                  <a:lnTo>
                    <a:pt x="1142" y="206"/>
                  </a:lnTo>
                  <a:lnTo>
                    <a:pt x="1132" y="214"/>
                  </a:lnTo>
                  <a:lnTo>
                    <a:pt x="1106" y="226"/>
                  </a:lnTo>
                  <a:lnTo>
                    <a:pt x="1080" y="234"/>
                  </a:lnTo>
                  <a:lnTo>
                    <a:pt x="1066" y="236"/>
                  </a:lnTo>
                  <a:lnTo>
                    <a:pt x="1054" y="238"/>
                  </a:lnTo>
                  <a:lnTo>
                    <a:pt x="816" y="238"/>
                  </a:lnTo>
                  <a:lnTo>
                    <a:pt x="816" y="238"/>
                  </a:lnTo>
                  <a:lnTo>
                    <a:pt x="808" y="238"/>
                  </a:lnTo>
                  <a:lnTo>
                    <a:pt x="800" y="240"/>
                  </a:lnTo>
                  <a:lnTo>
                    <a:pt x="792" y="244"/>
                  </a:lnTo>
                  <a:lnTo>
                    <a:pt x="786" y="250"/>
                  </a:lnTo>
                  <a:lnTo>
                    <a:pt x="780" y="256"/>
                  </a:lnTo>
                  <a:lnTo>
                    <a:pt x="776" y="264"/>
                  </a:lnTo>
                  <a:lnTo>
                    <a:pt x="774" y="272"/>
                  </a:lnTo>
                  <a:lnTo>
                    <a:pt x="774" y="280"/>
                  </a:lnTo>
                  <a:lnTo>
                    <a:pt x="774" y="532"/>
                  </a:lnTo>
                  <a:lnTo>
                    <a:pt x="774" y="532"/>
                  </a:lnTo>
                  <a:lnTo>
                    <a:pt x="772" y="544"/>
                  </a:lnTo>
                  <a:lnTo>
                    <a:pt x="768" y="556"/>
                  </a:lnTo>
                  <a:lnTo>
                    <a:pt x="762" y="566"/>
                  </a:lnTo>
                  <a:lnTo>
                    <a:pt x="754" y="576"/>
                  </a:lnTo>
                  <a:lnTo>
                    <a:pt x="746" y="584"/>
                  </a:lnTo>
                  <a:lnTo>
                    <a:pt x="734" y="590"/>
                  </a:lnTo>
                  <a:lnTo>
                    <a:pt x="722" y="594"/>
                  </a:lnTo>
                  <a:lnTo>
                    <a:pt x="710" y="594"/>
                  </a:lnTo>
                  <a:lnTo>
                    <a:pt x="470" y="594"/>
                  </a:lnTo>
                  <a:lnTo>
                    <a:pt x="470" y="594"/>
                  </a:lnTo>
                  <a:lnTo>
                    <a:pt x="460" y="596"/>
                  </a:lnTo>
                  <a:lnTo>
                    <a:pt x="452" y="598"/>
                  </a:lnTo>
                  <a:lnTo>
                    <a:pt x="446" y="602"/>
                  </a:lnTo>
                  <a:lnTo>
                    <a:pt x="438" y="608"/>
                  </a:lnTo>
                  <a:lnTo>
                    <a:pt x="434" y="614"/>
                  </a:lnTo>
                  <a:lnTo>
                    <a:pt x="430" y="622"/>
                  </a:lnTo>
                  <a:lnTo>
                    <a:pt x="428" y="630"/>
                  </a:lnTo>
                  <a:lnTo>
                    <a:pt x="426" y="638"/>
                  </a:lnTo>
                  <a:lnTo>
                    <a:pt x="426" y="878"/>
                  </a:lnTo>
                  <a:lnTo>
                    <a:pt x="426" y="878"/>
                  </a:lnTo>
                  <a:lnTo>
                    <a:pt x="426" y="892"/>
                  </a:lnTo>
                  <a:lnTo>
                    <a:pt x="422" y="904"/>
                  </a:lnTo>
                  <a:lnTo>
                    <a:pt x="416" y="914"/>
                  </a:lnTo>
                  <a:lnTo>
                    <a:pt x="408" y="924"/>
                  </a:lnTo>
                  <a:lnTo>
                    <a:pt x="398" y="932"/>
                  </a:lnTo>
                  <a:lnTo>
                    <a:pt x="388" y="936"/>
                  </a:lnTo>
                  <a:lnTo>
                    <a:pt x="376" y="940"/>
                  </a:lnTo>
                  <a:lnTo>
                    <a:pt x="364" y="942"/>
                  </a:lnTo>
                  <a:lnTo>
                    <a:pt x="364" y="942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6" name="Freeform 84"/>
            <p:cNvSpPr>
              <a:spLocks/>
            </p:cNvSpPr>
            <p:nvPr/>
          </p:nvSpPr>
          <p:spPr bwMode="auto">
            <a:xfrm>
              <a:off x="4338254" y="2730616"/>
              <a:ext cx="344435" cy="340334"/>
            </a:xfrm>
            <a:custGeom>
              <a:avLst/>
              <a:gdLst>
                <a:gd name="T0" fmla="*/ 158 w 168"/>
                <a:gd name="T1" fmla="*/ 166 h 166"/>
                <a:gd name="T2" fmla="*/ 158 w 168"/>
                <a:gd name="T3" fmla="*/ 166 h 166"/>
                <a:gd name="T4" fmla="*/ 154 w 168"/>
                <a:gd name="T5" fmla="*/ 166 h 166"/>
                <a:gd name="T6" fmla="*/ 150 w 168"/>
                <a:gd name="T7" fmla="*/ 164 h 166"/>
                <a:gd name="T8" fmla="*/ 148 w 168"/>
                <a:gd name="T9" fmla="*/ 160 h 166"/>
                <a:gd name="T10" fmla="*/ 148 w 168"/>
                <a:gd name="T11" fmla="*/ 156 h 166"/>
                <a:gd name="T12" fmla="*/ 148 w 168"/>
                <a:gd name="T13" fmla="*/ 20 h 166"/>
                <a:gd name="T14" fmla="*/ 10 w 168"/>
                <a:gd name="T15" fmla="*/ 20 h 166"/>
                <a:gd name="T16" fmla="*/ 10 w 168"/>
                <a:gd name="T17" fmla="*/ 20 h 166"/>
                <a:gd name="T18" fmla="*/ 6 w 168"/>
                <a:gd name="T19" fmla="*/ 18 h 166"/>
                <a:gd name="T20" fmla="*/ 4 w 168"/>
                <a:gd name="T21" fmla="*/ 16 h 166"/>
                <a:gd name="T22" fmla="*/ 2 w 168"/>
                <a:gd name="T23" fmla="*/ 14 h 166"/>
                <a:gd name="T24" fmla="*/ 0 w 168"/>
                <a:gd name="T25" fmla="*/ 10 h 166"/>
                <a:gd name="T26" fmla="*/ 0 w 168"/>
                <a:gd name="T27" fmla="*/ 10 h 166"/>
                <a:gd name="T28" fmla="*/ 2 w 168"/>
                <a:gd name="T29" fmla="*/ 6 h 166"/>
                <a:gd name="T30" fmla="*/ 4 w 168"/>
                <a:gd name="T31" fmla="*/ 2 h 166"/>
                <a:gd name="T32" fmla="*/ 6 w 168"/>
                <a:gd name="T33" fmla="*/ 0 h 166"/>
                <a:gd name="T34" fmla="*/ 10 w 168"/>
                <a:gd name="T35" fmla="*/ 0 h 166"/>
                <a:gd name="T36" fmla="*/ 168 w 168"/>
                <a:gd name="T37" fmla="*/ 0 h 166"/>
                <a:gd name="T38" fmla="*/ 168 w 168"/>
                <a:gd name="T39" fmla="*/ 156 h 166"/>
                <a:gd name="T40" fmla="*/ 168 w 168"/>
                <a:gd name="T41" fmla="*/ 156 h 166"/>
                <a:gd name="T42" fmla="*/ 168 w 168"/>
                <a:gd name="T43" fmla="*/ 160 h 166"/>
                <a:gd name="T44" fmla="*/ 166 w 168"/>
                <a:gd name="T45" fmla="*/ 164 h 166"/>
                <a:gd name="T46" fmla="*/ 162 w 168"/>
                <a:gd name="T47" fmla="*/ 166 h 166"/>
                <a:gd name="T48" fmla="*/ 158 w 168"/>
                <a:gd name="T49" fmla="*/ 166 h 166"/>
                <a:gd name="T50" fmla="*/ 158 w 168"/>
                <a:gd name="T5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8" h="166">
                  <a:moveTo>
                    <a:pt x="158" y="166"/>
                  </a:moveTo>
                  <a:lnTo>
                    <a:pt x="158" y="166"/>
                  </a:lnTo>
                  <a:lnTo>
                    <a:pt x="154" y="166"/>
                  </a:lnTo>
                  <a:lnTo>
                    <a:pt x="150" y="164"/>
                  </a:lnTo>
                  <a:lnTo>
                    <a:pt x="148" y="160"/>
                  </a:lnTo>
                  <a:lnTo>
                    <a:pt x="148" y="156"/>
                  </a:lnTo>
                  <a:lnTo>
                    <a:pt x="148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68" y="0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60"/>
                  </a:lnTo>
                  <a:lnTo>
                    <a:pt x="166" y="164"/>
                  </a:lnTo>
                  <a:lnTo>
                    <a:pt x="162" y="166"/>
                  </a:lnTo>
                  <a:lnTo>
                    <a:pt x="158" y="166"/>
                  </a:lnTo>
                  <a:lnTo>
                    <a:pt x="158" y="166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7" name="Freeform 105"/>
            <p:cNvSpPr>
              <a:spLocks/>
            </p:cNvSpPr>
            <p:nvPr/>
          </p:nvSpPr>
          <p:spPr bwMode="auto">
            <a:xfrm>
              <a:off x="3624783" y="4403586"/>
              <a:ext cx="295230" cy="336234"/>
            </a:xfrm>
            <a:custGeom>
              <a:avLst/>
              <a:gdLst>
                <a:gd name="T0" fmla="*/ 120 w 144"/>
                <a:gd name="T1" fmla="*/ 142 h 164"/>
                <a:gd name="T2" fmla="*/ 98 w 144"/>
                <a:gd name="T3" fmla="*/ 158 h 164"/>
                <a:gd name="T4" fmla="*/ 76 w 144"/>
                <a:gd name="T5" fmla="*/ 164 h 164"/>
                <a:gd name="T6" fmla="*/ 60 w 144"/>
                <a:gd name="T7" fmla="*/ 162 h 164"/>
                <a:gd name="T8" fmla="*/ 30 w 144"/>
                <a:gd name="T9" fmla="*/ 150 h 164"/>
                <a:gd name="T10" fmla="*/ 12 w 144"/>
                <a:gd name="T11" fmla="*/ 128 h 164"/>
                <a:gd name="T12" fmla="*/ 2 w 144"/>
                <a:gd name="T13" fmla="*/ 100 h 164"/>
                <a:gd name="T14" fmla="*/ 0 w 144"/>
                <a:gd name="T15" fmla="*/ 82 h 164"/>
                <a:gd name="T16" fmla="*/ 4 w 144"/>
                <a:gd name="T17" fmla="*/ 50 h 164"/>
                <a:gd name="T18" fmla="*/ 20 w 144"/>
                <a:gd name="T19" fmla="*/ 24 h 164"/>
                <a:gd name="T20" fmla="*/ 44 w 144"/>
                <a:gd name="T21" fmla="*/ 6 h 164"/>
                <a:gd name="T22" fmla="*/ 76 w 144"/>
                <a:gd name="T23" fmla="*/ 0 h 164"/>
                <a:gd name="T24" fmla="*/ 88 w 144"/>
                <a:gd name="T25" fmla="*/ 2 h 164"/>
                <a:gd name="T26" fmla="*/ 110 w 144"/>
                <a:gd name="T27" fmla="*/ 8 h 164"/>
                <a:gd name="T28" fmla="*/ 128 w 144"/>
                <a:gd name="T29" fmla="*/ 22 h 164"/>
                <a:gd name="T30" fmla="*/ 140 w 144"/>
                <a:gd name="T31" fmla="*/ 42 h 164"/>
                <a:gd name="T32" fmla="*/ 110 w 144"/>
                <a:gd name="T33" fmla="*/ 56 h 164"/>
                <a:gd name="T34" fmla="*/ 104 w 144"/>
                <a:gd name="T35" fmla="*/ 44 h 164"/>
                <a:gd name="T36" fmla="*/ 88 w 144"/>
                <a:gd name="T37" fmla="*/ 30 h 164"/>
                <a:gd name="T38" fmla="*/ 76 w 144"/>
                <a:gd name="T39" fmla="*/ 30 h 164"/>
                <a:gd name="T40" fmla="*/ 56 w 144"/>
                <a:gd name="T41" fmla="*/ 34 h 164"/>
                <a:gd name="T42" fmla="*/ 44 w 144"/>
                <a:gd name="T43" fmla="*/ 46 h 164"/>
                <a:gd name="T44" fmla="*/ 36 w 144"/>
                <a:gd name="T45" fmla="*/ 62 h 164"/>
                <a:gd name="T46" fmla="*/ 34 w 144"/>
                <a:gd name="T47" fmla="*/ 82 h 164"/>
                <a:gd name="T48" fmla="*/ 34 w 144"/>
                <a:gd name="T49" fmla="*/ 92 h 164"/>
                <a:gd name="T50" fmla="*/ 40 w 144"/>
                <a:gd name="T51" fmla="*/ 110 h 164"/>
                <a:gd name="T52" fmla="*/ 50 w 144"/>
                <a:gd name="T53" fmla="*/ 126 h 164"/>
                <a:gd name="T54" fmla="*/ 66 w 144"/>
                <a:gd name="T55" fmla="*/ 134 h 164"/>
                <a:gd name="T56" fmla="*/ 76 w 144"/>
                <a:gd name="T57" fmla="*/ 134 h 164"/>
                <a:gd name="T58" fmla="*/ 92 w 144"/>
                <a:gd name="T59" fmla="*/ 132 h 164"/>
                <a:gd name="T60" fmla="*/ 102 w 144"/>
                <a:gd name="T61" fmla="*/ 126 h 164"/>
                <a:gd name="T62" fmla="*/ 110 w 144"/>
                <a:gd name="T63" fmla="*/ 116 h 164"/>
                <a:gd name="T64" fmla="*/ 78 w 144"/>
                <a:gd name="T65" fmla="*/ 102 h 164"/>
                <a:gd name="T66" fmla="*/ 144 w 144"/>
                <a:gd name="T67" fmla="*/ 76 h 164"/>
                <a:gd name="T68" fmla="*/ 122 w 144"/>
                <a:gd name="T69" fmla="*/ 16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164">
                  <a:moveTo>
                    <a:pt x="120" y="142"/>
                  </a:moveTo>
                  <a:lnTo>
                    <a:pt x="120" y="142"/>
                  </a:lnTo>
                  <a:lnTo>
                    <a:pt x="110" y="152"/>
                  </a:lnTo>
                  <a:lnTo>
                    <a:pt x="98" y="158"/>
                  </a:lnTo>
                  <a:lnTo>
                    <a:pt x="88" y="162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60" y="162"/>
                  </a:lnTo>
                  <a:lnTo>
                    <a:pt x="44" y="158"/>
                  </a:lnTo>
                  <a:lnTo>
                    <a:pt x="30" y="150"/>
                  </a:lnTo>
                  <a:lnTo>
                    <a:pt x="20" y="140"/>
                  </a:lnTo>
                  <a:lnTo>
                    <a:pt x="12" y="128"/>
                  </a:lnTo>
                  <a:lnTo>
                    <a:pt x="4" y="114"/>
                  </a:lnTo>
                  <a:lnTo>
                    <a:pt x="2" y="100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66"/>
                  </a:lnTo>
                  <a:lnTo>
                    <a:pt x="4" y="50"/>
                  </a:lnTo>
                  <a:lnTo>
                    <a:pt x="12" y="36"/>
                  </a:lnTo>
                  <a:lnTo>
                    <a:pt x="20" y="24"/>
                  </a:lnTo>
                  <a:lnTo>
                    <a:pt x="30" y="14"/>
                  </a:lnTo>
                  <a:lnTo>
                    <a:pt x="44" y="6"/>
                  </a:lnTo>
                  <a:lnTo>
                    <a:pt x="60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8" y="2"/>
                  </a:lnTo>
                  <a:lnTo>
                    <a:pt x="100" y="4"/>
                  </a:lnTo>
                  <a:lnTo>
                    <a:pt x="110" y="8"/>
                  </a:lnTo>
                  <a:lnTo>
                    <a:pt x="120" y="14"/>
                  </a:lnTo>
                  <a:lnTo>
                    <a:pt x="128" y="22"/>
                  </a:lnTo>
                  <a:lnTo>
                    <a:pt x="134" y="32"/>
                  </a:lnTo>
                  <a:lnTo>
                    <a:pt x="140" y="42"/>
                  </a:lnTo>
                  <a:lnTo>
                    <a:pt x="142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4" y="44"/>
                  </a:lnTo>
                  <a:lnTo>
                    <a:pt x="98" y="36"/>
                  </a:lnTo>
                  <a:lnTo>
                    <a:pt x="88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66" y="30"/>
                  </a:lnTo>
                  <a:lnTo>
                    <a:pt x="56" y="34"/>
                  </a:lnTo>
                  <a:lnTo>
                    <a:pt x="50" y="38"/>
                  </a:lnTo>
                  <a:lnTo>
                    <a:pt x="44" y="46"/>
                  </a:lnTo>
                  <a:lnTo>
                    <a:pt x="40" y="54"/>
                  </a:lnTo>
                  <a:lnTo>
                    <a:pt x="36" y="62"/>
                  </a:lnTo>
                  <a:lnTo>
                    <a:pt x="34" y="7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92"/>
                  </a:lnTo>
                  <a:lnTo>
                    <a:pt x="36" y="102"/>
                  </a:lnTo>
                  <a:lnTo>
                    <a:pt x="40" y="110"/>
                  </a:lnTo>
                  <a:lnTo>
                    <a:pt x="44" y="118"/>
                  </a:lnTo>
                  <a:lnTo>
                    <a:pt x="50" y="126"/>
                  </a:lnTo>
                  <a:lnTo>
                    <a:pt x="56" y="130"/>
                  </a:lnTo>
                  <a:lnTo>
                    <a:pt x="66" y="134"/>
                  </a:lnTo>
                  <a:lnTo>
                    <a:pt x="76" y="134"/>
                  </a:lnTo>
                  <a:lnTo>
                    <a:pt x="76" y="134"/>
                  </a:lnTo>
                  <a:lnTo>
                    <a:pt x="84" y="134"/>
                  </a:lnTo>
                  <a:lnTo>
                    <a:pt x="92" y="132"/>
                  </a:lnTo>
                  <a:lnTo>
                    <a:pt x="98" y="130"/>
                  </a:lnTo>
                  <a:lnTo>
                    <a:pt x="102" y="126"/>
                  </a:lnTo>
                  <a:lnTo>
                    <a:pt x="106" y="122"/>
                  </a:lnTo>
                  <a:lnTo>
                    <a:pt x="110" y="116"/>
                  </a:lnTo>
                  <a:lnTo>
                    <a:pt x="114" y="102"/>
                  </a:lnTo>
                  <a:lnTo>
                    <a:pt x="78" y="102"/>
                  </a:lnTo>
                  <a:lnTo>
                    <a:pt x="78" y="76"/>
                  </a:lnTo>
                  <a:lnTo>
                    <a:pt x="144" y="76"/>
                  </a:lnTo>
                  <a:lnTo>
                    <a:pt x="144" y="160"/>
                  </a:lnTo>
                  <a:lnTo>
                    <a:pt x="122" y="160"/>
                  </a:lnTo>
                  <a:lnTo>
                    <a:pt x="120" y="1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8" name="Freeform 106"/>
            <p:cNvSpPr>
              <a:spLocks/>
            </p:cNvSpPr>
            <p:nvPr/>
          </p:nvSpPr>
          <p:spPr bwMode="auto">
            <a:xfrm>
              <a:off x="3969218" y="4493795"/>
              <a:ext cx="151716" cy="237824"/>
            </a:xfrm>
            <a:custGeom>
              <a:avLst/>
              <a:gdLst>
                <a:gd name="T0" fmla="*/ 0 w 74"/>
                <a:gd name="T1" fmla="*/ 4 h 116"/>
                <a:gd name="T2" fmla="*/ 30 w 74"/>
                <a:gd name="T3" fmla="*/ 4 h 116"/>
                <a:gd name="T4" fmla="*/ 30 w 74"/>
                <a:gd name="T5" fmla="*/ 24 h 116"/>
                <a:gd name="T6" fmla="*/ 30 w 74"/>
                <a:gd name="T7" fmla="*/ 24 h 116"/>
                <a:gd name="T8" fmla="*/ 30 w 74"/>
                <a:gd name="T9" fmla="*/ 24 h 116"/>
                <a:gd name="T10" fmla="*/ 36 w 74"/>
                <a:gd name="T11" fmla="*/ 14 h 116"/>
                <a:gd name="T12" fmla="*/ 46 w 74"/>
                <a:gd name="T13" fmla="*/ 6 h 116"/>
                <a:gd name="T14" fmla="*/ 56 w 74"/>
                <a:gd name="T15" fmla="*/ 2 h 116"/>
                <a:gd name="T16" fmla="*/ 66 w 74"/>
                <a:gd name="T17" fmla="*/ 0 h 116"/>
                <a:gd name="T18" fmla="*/ 66 w 74"/>
                <a:gd name="T19" fmla="*/ 0 h 116"/>
                <a:gd name="T20" fmla="*/ 74 w 74"/>
                <a:gd name="T21" fmla="*/ 2 h 116"/>
                <a:gd name="T22" fmla="*/ 74 w 74"/>
                <a:gd name="T23" fmla="*/ 30 h 116"/>
                <a:gd name="T24" fmla="*/ 74 w 74"/>
                <a:gd name="T25" fmla="*/ 30 h 116"/>
                <a:gd name="T26" fmla="*/ 62 w 74"/>
                <a:gd name="T27" fmla="*/ 28 h 116"/>
                <a:gd name="T28" fmla="*/ 62 w 74"/>
                <a:gd name="T29" fmla="*/ 28 h 116"/>
                <a:gd name="T30" fmla="*/ 54 w 74"/>
                <a:gd name="T31" fmla="*/ 30 h 116"/>
                <a:gd name="T32" fmla="*/ 48 w 74"/>
                <a:gd name="T33" fmla="*/ 32 h 116"/>
                <a:gd name="T34" fmla="*/ 42 w 74"/>
                <a:gd name="T35" fmla="*/ 36 h 116"/>
                <a:gd name="T36" fmla="*/ 38 w 74"/>
                <a:gd name="T37" fmla="*/ 40 h 116"/>
                <a:gd name="T38" fmla="*/ 36 w 74"/>
                <a:gd name="T39" fmla="*/ 44 h 116"/>
                <a:gd name="T40" fmla="*/ 34 w 74"/>
                <a:gd name="T41" fmla="*/ 52 h 116"/>
                <a:gd name="T42" fmla="*/ 32 w 74"/>
                <a:gd name="T43" fmla="*/ 66 h 116"/>
                <a:gd name="T44" fmla="*/ 32 w 74"/>
                <a:gd name="T45" fmla="*/ 116 h 116"/>
                <a:gd name="T46" fmla="*/ 0 w 74"/>
                <a:gd name="T47" fmla="*/ 116 h 116"/>
                <a:gd name="T48" fmla="*/ 0 w 74"/>
                <a:gd name="T49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4" h="116">
                  <a:moveTo>
                    <a:pt x="0" y="4"/>
                  </a:moveTo>
                  <a:lnTo>
                    <a:pt x="30" y="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6" y="14"/>
                  </a:lnTo>
                  <a:lnTo>
                    <a:pt x="46" y="6"/>
                  </a:lnTo>
                  <a:lnTo>
                    <a:pt x="56" y="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4" y="2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54" y="30"/>
                  </a:lnTo>
                  <a:lnTo>
                    <a:pt x="48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6" y="44"/>
                  </a:lnTo>
                  <a:lnTo>
                    <a:pt x="34" y="52"/>
                  </a:lnTo>
                  <a:lnTo>
                    <a:pt x="32" y="66"/>
                  </a:lnTo>
                  <a:lnTo>
                    <a:pt x="32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89" name="Freeform 107"/>
            <p:cNvSpPr>
              <a:spLocks noEditPoints="1"/>
            </p:cNvSpPr>
            <p:nvPr/>
          </p:nvSpPr>
          <p:spPr bwMode="auto">
            <a:xfrm>
              <a:off x="4129133" y="4493795"/>
              <a:ext cx="241925" cy="241925"/>
            </a:xfrm>
            <a:custGeom>
              <a:avLst/>
              <a:gdLst>
                <a:gd name="T0" fmla="*/ 58 w 118"/>
                <a:gd name="T1" fmla="*/ 0 h 118"/>
                <a:gd name="T2" fmla="*/ 82 w 118"/>
                <a:gd name="T3" fmla="*/ 4 h 118"/>
                <a:gd name="T4" fmla="*/ 102 w 118"/>
                <a:gd name="T5" fmla="*/ 16 h 118"/>
                <a:gd name="T6" fmla="*/ 112 w 118"/>
                <a:gd name="T7" fmla="*/ 36 h 118"/>
                <a:gd name="T8" fmla="*/ 118 w 118"/>
                <a:gd name="T9" fmla="*/ 60 h 118"/>
                <a:gd name="T10" fmla="*/ 116 w 118"/>
                <a:gd name="T11" fmla="*/ 72 h 118"/>
                <a:gd name="T12" fmla="*/ 108 w 118"/>
                <a:gd name="T13" fmla="*/ 94 h 118"/>
                <a:gd name="T14" fmla="*/ 92 w 118"/>
                <a:gd name="T15" fmla="*/ 110 h 118"/>
                <a:gd name="T16" fmla="*/ 72 w 118"/>
                <a:gd name="T17" fmla="*/ 118 h 118"/>
                <a:gd name="T18" fmla="*/ 58 w 118"/>
                <a:gd name="T19" fmla="*/ 118 h 118"/>
                <a:gd name="T20" fmla="*/ 34 w 118"/>
                <a:gd name="T21" fmla="*/ 114 h 118"/>
                <a:gd name="T22" fmla="*/ 16 w 118"/>
                <a:gd name="T23" fmla="*/ 102 h 118"/>
                <a:gd name="T24" fmla="*/ 4 w 118"/>
                <a:gd name="T25" fmla="*/ 84 h 118"/>
                <a:gd name="T26" fmla="*/ 0 w 118"/>
                <a:gd name="T27" fmla="*/ 60 h 118"/>
                <a:gd name="T28" fmla="*/ 2 w 118"/>
                <a:gd name="T29" fmla="*/ 46 h 118"/>
                <a:gd name="T30" fmla="*/ 10 w 118"/>
                <a:gd name="T31" fmla="*/ 24 h 118"/>
                <a:gd name="T32" fmla="*/ 24 w 118"/>
                <a:gd name="T33" fmla="*/ 10 h 118"/>
                <a:gd name="T34" fmla="*/ 46 w 118"/>
                <a:gd name="T35" fmla="*/ 2 h 118"/>
                <a:gd name="T36" fmla="*/ 58 w 118"/>
                <a:gd name="T37" fmla="*/ 0 h 118"/>
                <a:gd name="T38" fmla="*/ 58 w 118"/>
                <a:gd name="T39" fmla="*/ 96 h 118"/>
                <a:gd name="T40" fmla="*/ 72 w 118"/>
                <a:gd name="T41" fmla="*/ 92 h 118"/>
                <a:gd name="T42" fmla="*/ 80 w 118"/>
                <a:gd name="T43" fmla="*/ 84 h 118"/>
                <a:gd name="T44" fmla="*/ 86 w 118"/>
                <a:gd name="T45" fmla="*/ 60 h 118"/>
                <a:gd name="T46" fmla="*/ 84 w 118"/>
                <a:gd name="T47" fmla="*/ 46 h 118"/>
                <a:gd name="T48" fmla="*/ 76 w 118"/>
                <a:gd name="T49" fmla="*/ 30 h 118"/>
                <a:gd name="T50" fmla="*/ 66 w 118"/>
                <a:gd name="T51" fmla="*/ 24 h 118"/>
                <a:gd name="T52" fmla="*/ 58 w 118"/>
                <a:gd name="T53" fmla="*/ 24 h 118"/>
                <a:gd name="T54" fmla="*/ 46 w 118"/>
                <a:gd name="T55" fmla="*/ 26 h 118"/>
                <a:gd name="T56" fmla="*/ 38 w 118"/>
                <a:gd name="T57" fmla="*/ 34 h 118"/>
                <a:gd name="T58" fmla="*/ 32 w 118"/>
                <a:gd name="T59" fmla="*/ 60 h 118"/>
                <a:gd name="T60" fmla="*/ 32 w 118"/>
                <a:gd name="T61" fmla="*/ 72 h 118"/>
                <a:gd name="T62" fmla="*/ 40 w 118"/>
                <a:gd name="T63" fmla="*/ 88 h 118"/>
                <a:gd name="T64" fmla="*/ 52 w 118"/>
                <a:gd name="T65" fmla="*/ 94 h 118"/>
                <a:gd name="T66" fmla="*/ 58 w 118"/>
                <a:gd name="T67" fmla="*/ 9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118">
                  <a:moveTo>
                    <a:pt x="58" y="0"/>
                  </a:moveTo>
                  <a:lnTo>
                    <a:pt x="58" y="0"/>
                  </a:lnTo>
                  <a:lnTo>
                    <a:pt x="72" y="2"/>
                  </a:lnTo>
                  <a:lnTo>
                    <a:pt x="82" y="4"/>
                  </a:lnTo>
                  <a:lnTo>
                    <a:pt x="92" y="10"/>
                  </a:lnTo>
                  <a:lnTo>
                    <a:pt x="102" y="16"/>
                  </a:lnTo>
                  <a:lnTo>
                    <a:pt x="108" y="24"/>
                  </a:lnTo>
                  <a:lnTo>
                    <a:pt x="112" y="36"/>
                  </a:lnTo>
                  <a:lnTo>
                    <a:pt x="116" y="46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6" y="72"/>
                  </a:lnTo>
                  <a:lnTo>
                    <a:pt x="112" y="8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2" y="110"/>
                  </a:lnTo>
                  <a:lnTo>
                    <a:pt x="82" y="114"/>
                  </a:lnTo>
                  <a:lnTo>
                    <a:pt x="72" y="118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46" y="118"/>
                  </a:lnTo>
                  <a:lnTo>
                    <a:pt x="34" y="114"/>
                  </a:lnTo>
                  <a:lnTo>
                    <a:pt x="24" y="110"/>
                  </a:lnTo>
                  <a:lnTo>
                    <a:pt x="16" y="102"/>
                  </a:lnTo>
                  <a:lnTo>
                    <a:pt x="10" y="94"/>
                  </a:lnTo>
                  <a:lnTo>
                    <a:pt x="4" y="84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6"/>
                  </a:lnTo>
                  <a:lnTo>
                    <a:pt x="4" y="36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58" y="96"/>
                  </a:moveTo>
                  <a:lnTo>
                    <a:pt x="58" y="96"/>
                  </a:lnTo>
                  <a:lnTo>
                    <a:pt x="66" y="94"/>
                  </a:lnTo>
                  <a:lnTo>
                    <a:pt x="72" y="92"/>
                  </a:lnTo>
                  <a:lnTo>
                    <a:pt x="76" y="88"/>
                  </a:lnTo>
                  <a:lnTo>
                    <a:pt x="80" y="84"/>
                  </a:lnTo>
                  <a:lnTo>
                    <a:pt x="84" y="72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4" y="46"/>
                  </a:lnTo>
                  <a:lnTo>
                    <a:pt x="80" y="34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66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2" y="24"/>
                  </a:lnTo>
                  <a:lnTo>
                    <a:pt x="46" y="26"/>
                  </a:lnTo>
                  <a:lnTo>
                    <a:pt x="40" y="30"/>
                  </a:lnTo>
                  <a:lnTo>
                    <a:pt x="38" y="34"/>
                  </a:lnTo>
                  <a:lnTo>
                    <a:pt x="32" y="4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72"/>
                  </a:lnTo>
                  <a:lnTo>
                    <a:pt x="38" y="84"/>
                  </a:lnTo>
                  <a:lnTo>
                    <a:pt x="40" y="88"/>
                  </a:lnTo>
                  <a:lnTo>
                    <a:pt x="46" y="92"/>
                  </a:lnTo>
                  <a:lnTo>
                    <a:pt x="52" y="94"/>
                  </a:lnTo>
                  <a:lnTo>
                    <a:pt x="58" y="96"/>
                  </a:lnTo>
                  <a:lnTo>
                    <a:pt x="58" y="9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0" name="Freeform 108"/>
            <p:cNvSpPr>
              <a:spLocks/>
            </p:cNvSpPr>
            <p:nvPr/>
          </p:nvSpPr>
          <p:spPr bwMode="auto">
            <a:xfrm>
              <a:off x="4412062" y="4501996"/>
              <a:ext cx="213222" cy="233724"/>
            </a:xfrm>
            <a:custGeom>
              <a:avLst/>
              <a:gdLst>
                <a:gd name="T0" fmla="*/ 104 w 104"/>
                <a:gd name="T1" fmla="*/ 112 h 114"/>
                <a:gd name="T2" fmla="*/ 76 w 104"/>
                <a:gd name="T3" fmla="*/ 112 h 114"/>
                <a:gd name="T4" fmla="*/ 76 w 104"/>
                <a:gd name="T5" fmla="*/ 96 h 114"/>
                <a:gd name="T6" fmla="*/ 74 w 104"/>
                <a:gd name="T7" fmla="*/ 96 h 114"/>
                <a:gd name="T8" fmla="*/ 74 w 104"/>
                <a:gd name="T9" fmla="*/ 96 h 114"/>
                <a:gd name="T10" fmla="*/ 68 w 104"/>
                <a:gd name="T11" fmla="*/ 104 h 114"/>
                <a:gd name="T12" fmla="*/ 60 w 104"/>
                <a:gd name="T13" fmla="*/ 110 h 114"/>
                <a:gd name="T14" fmla="*/ 50 w 104"/>
                <a:gd name="T15" fmla="*/ 114 h 114"/>
                <a:gd name="T16" fmla="*/ 40 w 104"/>
                <a:gd name="T17" fmla="*/ 114 h 114"/>
                <a:gd name="T18" fmla="*/ 40 w 104"/>
                <a:gd name="T19" fmla="*/ 114 h 114"/>
                <a:gd name="T20" fmla="*/ 30 w 104"/>
                <a:gd name="T21" fmla="*/ 114 h 114"/>
                <a:gd name="T22" fmla="*/ 20 w 104"/>
                <a:gd name="T23" fmla="*/ 112 h 114"/>
                <a:gd name="T24" fmla="*/ 12 w 104"/>
                <a:gd name="T25" fmla="*/ 108 h 114"/>
                <a:gd name="T26" fmla="*/ 8 w 104"/>
                <a:gd name="T27" fmla="*/ 102 h 114"/>
                <a:gd name="T28" fmla="*/ 4 w 104"/>
                <a:gd name="T29" fmla="*/ 96 h 114"/>
                <a:gd name="T30" fmla="*/ 0 w 104"/>
                <a:gd name="T31" fmla="*/ 88 h 114"/>
                <a:gd name="T32" fmla="*/ 0 w 104"/>
                <a:gd name="T33" fmla="*/ 68 h 114"/>
                <a:gd name="T34" fmla="*/ 0 w 104"/>
                <a:gd name="T35" fmla="*/ 0 h 114"/>
                <a:gd name="T36" fmla="*/ 30 w 104"/>
                <a:gd name="T37" fmla="*/ 0 h 114"/>
                <a:gd name="T38" fmla="*/ 30 w 104"/>
                <a:gd name="T39" fmla="*/ 62 h 114"/>
                <a:gd name="T40" fmla="*/ 30 w 104"/>
                <a:gd name="T41" fmla="*/ 62 h 114"/>
                <a:gd name="T42" fmla="*/ 32 w 104"/>
                <a:gd name="T43" fmla="*/ 74 h 114"/>
                <a:gd name="T44" fmla="*/ 34 w 104"/>
                <a:gd name="T45" fmla="*/ 84 h 114"/>
                <a:gd name="T46" fmla="*/ 40 w 104"/>
                <a:gd name="T47" fmla="*/ 88 h 114"/>
                <a:gd name="T48" fmla="*/ 50 w 104"/>
                <a:gd name="T49" fmla="*/ 90 h 114"/>
                <a:gd name="T50" fmla="*/ 50 w 104"/>
                <a:gd name="T51" fmla="*/ 90 h 114"/>
                <a:gd name="T52" fmla="*/ 60 w 104"/>
                <a:gd name="T53" fmla="*/ 88 h 114"/>
                <a:gd name="T54" fmla="*/ 64 w 104"/>
                <a:gd name="T55" fmla="*/ 86 h 114"/>
                <a:gd name="T56" fmla="*/ 68 w 104"/>
                <a:gd name="T57" fmla="*/ 82 h 114"/>
                <a:gd name="T58" fmla="*/ 72 w 104"/>
                <a:gd name="T59" fmla="*/ 72 h 114"/>
                <a:gd name="T60" fmla="*/ 74 w 104"/>
                <a:gd name="T61" fmla="*/ 58 h 114"/>
                <a:gd name="T62" fmla="*/ 74 w 104"/>
                <a:gd name="T63" fmla="*/ 0 h 114"/>
                <a:gd name="T64" fmla="*/ 104 w 104"/>
                <a:gd name="T65" fmla="*/ 0 h 114"/>
                <a:gd name="T66" fmla="*/ 104 w 104"/>
                <a:gd name="T67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4">
                  <a:moveTo>
                    <a:pt x="104" y="112"/>
                  </a:moveTo>
                  <a:lnTo>
                    <a:pt x="76" y="112"/>
                  </a:lnTo>
                  <a:lnTo>
                    <a:pt x="76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68" y="104"/>
                  </a:lnTo>
                  <a:lnTo>
                    <a:pt x="60" y="110"/>
                  </a:lnTo>
                  <a:lnTo>
                    <a:pt x="50" y="114"/>
                  </a:lnTo>
                  <a:lnTo>
                    <a:pt x="40" y="114"/>
                  </a:lnTo>
                  <a:lnTo>
                    <a:pt x="40" y="114"/>
                  </a:lnTo>
                  <a:lnTo>
                    <a:pt x="30" y="114"/>
                  </a:lnTo>
                  <a:lnTo>
                    <a:pt x="20" y="112"/>
                  </a:lnTo>
                  <a:lnTo>
                    <a:pt x="12" y="108"/>
                  </a:lnTo>
                  <a:lnTo>
                    <a:pt x="8" y="102"/>
                  </a:lnTo>
                  <a:lnTo>
                    <a:pt x="4" y="96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2" y="74"/>
                  </a:lnTo>
                  <a:lnTo>
                    <a:pt x="34" y="84"/>
                  </a:lnTo>
                  <a:lnTo>
                    <a:pt x="40" y="88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60" y="88"/>
                  </a:lnTo>
                  <a:lnTo>
                    <a:pt x="64" y="86"/>
                  </a:lnTo>
                  <a:lnTo>
                    <a:pt x="68" y="82"/>
                  </a:lnTo>
                  <a:lnTo>
                    <a:pt x="72" y="72"/>
                  </a:lnTo>
                  <a:lnTo>
                    <a:pt x="74" y="58"/>
                  </a:lnTo>
                  <a:lnTo>
                    <a:pt x="74" y="0"/>
                  </a:lnTo>
                  <a:lnTo>
                    <a:pt x="104" y="0"/>
                  </a:lnTo>
                  <a:lnTo>
                    <a:pt x="104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1" name="Freeform 109"/>
            <p:cNvSpPr>
              <a:spLocks noEditPoints="1"/>
            </p:cNvSpPr>
            <p:nvPr/>
          </p:nvSpPr>
          <p:spPr bwMode="auto">
            <a:xfrm>
              <a:off x="4674489" y="4493795"/>
              <a:ext cx="237824" cy="319832"/>
            </a:xfrm>
            <a:custGeom>
              <a:avLst/>
              <a:gdLst>
                <a:gd name="T0" fmla="*/ 30 w 116"/>
                <a:gd name="T1" fmla="*/ 4 h 156"/>
                <a:gd name="T2" fmla="*/ 30 w 116"/>
                <a:gd name="T3" fmla="*/ 18 h 156"/>
                <a:gd name="T4" fmla="*/ 36 w 116"/>
                <a:gd name="T5" fmla="*/ 10 h 156"/>
                <a:gd name="T6" fmla="*/ 54 w 116"/>
                <a:gd name="T7" fmla="*/ 2 h 156"/>
                <a:gd name="T8" fmla="*/ 64 w 116"/>
                <a:gd name="T9" fmla="*/ 0 h 156"/>
                <a:gd name="T10" fmla="*/ 86 w 116"/>
                <a:gd name="T11" fmla="*/ 4 h 156"/>
                <a:gd name="T12" fmla="*/ 102 w 116"/>
                <a:gd name="T13" fmla="*/ 18 h 156"/>
                <a:gd name="T14" fmla="*/ 112 w 116"/>
                <a:gd name="T15" fmla="*/ 38 h 156"/>
                <a:gd name="T16" fmla="*/ 116 w 116"/>
                <a:gd name="T17" fmla="*/ 60 h 156"/>
                <a:gd name="T18" fmla="*/ 114 w 116"/>
                <a:gd name="T19" fmla="*/ 72 h 156"/>
                <a:gd name="T20" fmla="*/ 108 w 116"/>
                <a:gd name="T21" fmla="*/ 92 h 156"/>
                <a:gd name="T22" fmla="*/ 96 w 116"/>
                <a:gd name="T23" fmla="*/ 108 h 156"/>
                <a:gd name="T24" fmla="*/ 78 w 116"/>
                <a:gd name="T25" fmla="*/ 118 h 156"/>
                <a:gd name="T26" fmla="*/ 66 w 116"/>
                <a:gd name="T27" fmla="*/ 118 h 156"/>
                <a:gd name="T28" fmla="*/ 46 w 116"/>
                <a:gd name="T29" fmla="*/ 114 h 156"/>
                <a:gd name="T30" fmla="*/ 32 w 116"/>
                <a:gd name="T31" fmla="*/ 102 h 156"/>
                <a:gd name="T32" fmla="*/ 32 w 116"/>
                <a:gd name="T33" fmla="*/ 156 h 156"/>
                <a:gd name="T34" fmla="*/ 0 w 116"/>
                <a:gd name="T35" fmla="*/ 4 h 156"/>
                <a:gd name="T36" fmla="*/ 84 w 116"/>
                <a:gd name="T37" fmla="*/ 60 h 156"/>
                <a:gd name="T38" fmla="*/ 78 w 116"/>
                <a:gd name="T39" fmla="*/ 34 h 156"/>
                <a:gd name="T40" fmla="*/ 70 w 116"/>
                <a:gd name="T41" fmla="*/ 26 h 156"/>
                <a:gd name="T42" fmla="*/ 58 w 116"/>
                <a:gd name="T43" fmla="*/ 24 h 156"/>
                <a:gd name="T44" fmla="*/ 50 w 116"/>
                <a:gd name="T45" fmla="*/ 24 h 156"/>
                <a:gd name="T46" fmla="*/ 40 w 116"/>
                <a:gd name="T47" fmla="*/ 30 h 156"/>
                <a:gd name="T48" fmla="*/ 32 w 116"/>
                <a:gd name="T49" fmla="*/ 46 h 156"/>
                <a:gd name="T50" fmla="*/ 30 w 116"/>
                <a:gd name="T51" fmla="*/ 60 h 156"/>
                <a:gd name="T52" fmla="*/ 36 w 116"/>
                <a:gd name="T53" fmla="*/ 84 h 156"/>
                <a:gd name="T54" fmla="*/ 44 w 116"/>
                <a:gd name="T55" fmla="*/ 92 h 156"/>
                <a:gd name="T56" fmla="*/ 58 w 116"/>
                <a:gd name="T57" fmla="*/ 96 h 156"/>
                <a:gd name="T58" fmla="*/ 64 w 116"/>
                <a:gd name="T59" fmla="*/ 94 h 156"/>
                <a:gd name="T60" fmla="*/ 74 w 116"/>
                <a:gd name="T61" fmla="*/ 90 h 156"/>
                <a:gd name="T62" fmla="*/ 84 w 116"/>
                <a:gd name="T63" fmla="*/ 74 h 156"/>
                <a:gd name="T64" fmla="*/ 84 w 116"/>
                <a:gd name="T65" fmla="*/ 6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6" h="156">
                  <a:moveTo>
                    <a:pt x="0" y="4"/>
                  </a:moveTo>
                  <a:lnTo>
                    <a:pt x="30" y="4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0"/>
                  </a:lnTo>
                  <a:lnTo>
                    <a:pt x="44" y="4"/>
                  </a:lnTo>
                  <a:lnTo>
                    <a:pt x="54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6" y="2"/>
                  </a:lnTo>
                  <a:lnTo>
                    <a:pt x="86" y="4"/>
                  </a:lnTo>
                  <a:lnTo>
                    <a:pt x="96" y="10"/>
                  </a:lnTo>
                  <a:lnTo>
                    <a:pt x="102" y="18"/>
                  </a:lnTo>
                  <a:lnTo>
                    <a:pt x="108" y="28"/>
                  </a:lnTo>
                  <a:lnTo>
                    <a:pt x="112" y="38"/>
                  </a:lnTo>
                  <a:lnTo>
                    <a:pt x="114" y="48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4" y="72"/>
                  </a:lnTo>
                  <a:lnTo>
                    <a:pt x="112" y="82"/>
                  </a:lnTo>
                  <a:lnTo>
                    <a:pt x="108" y="92"/>
                  </a:lnTo>
                  <a:lnTo>
                    <a:pt x="102" y="102"/>
                  </a:lnTo>
                  <a:lnTo>
                    <a:pt x="96" y="108"/>
                  </a:lnTo>
                  <a:lnTo>
                    <a:pt x="88" y="114"/>
                  </a:lnTo>
                  <a:lnTo>
                    <a:pt x="78" y="118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56" y="118"/>
                  </a:lnTo>
                  <a:lnTo>
                    <a:pt x="46" y="114"/>
                  </a:lnTo>
                  <a:lnTo>
                    <a:pt x="38" y="110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56"/>
                  </a:lnTo>
                  <a:lnTo>
                    <a:pt x="0" y="156"/>
                  </a:lnTo>
                  <a:lnTo>
                    <a:pt x="0" y="4"/>
                  </a:lnTo>
                  <a:close/>
                  <a:moveTo>
                    <a:pt x="84" y="60"/>
                  </a:moveTo>
                  <a:lnTo>
                    <a:pt x="84" y="60"/>
                  </a:lnTo>
                  <a:lnTo>
                    <a:pt x="82" y="46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70" y="26"/>
                  </a:lnTo>
                  <a:lnTo>
                    <a:pt x="64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0" y="24"/>
                  </a:lnTo>
                  <a:lnTo>
                    <a:pt x="44" y="26"/>
                  </a:lnTo>
                  <a:lnTo>
                    <a:pt x="40" y="30"/>
                  </a:lnTo>
                  <a:lnTo>
                    <a:pt x="36" y="34"/>
                  </a:lnTo>
                  <a:lnTo>
                    <a:pt x="32" y="4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74"/>
                  </a:lnTo>
                  <a:lnTo>
                    <a:pt x="36" y="84"/>
                  </a:lnTo>
                  <a:lnTo>
                    <a:pt x="40" y="90"/>
                  </a:lnTo>
                  <a:lnTo>
                    <a:pt x="44" y="92"/>
                  </a:lnTo>
                  <a:lnTo>
                    <a:pt x="50" y="94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64" y="94"/>
                  </a:lnTo>
                  <a:lnTo>
                    <a:pt x="70" y="92"/>
                  </a:lnTo>
                  <a:lnTo>
                    <a:pt x="74" y="90"/>
                  </a:lnTo>
                  <a:lnTo>
                    <a:pt x="78" y="84"/>
                  </a:lnTo>
                  <a:lnTo>
                    <a:pt x="84" y="74"/>
                  </a:lnTo>
                  <a:lnTo>
                    <a:pt x="84" y="60"/>
                  </a:lnTo>
                  <a:lnTo>
                    <a:pt x="84" y="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2" name="Freeform 110"/>
            <p:cNvSpPr>
              <a:spLocks/>
            </p:cNvSpPr>
            <p:nvPr/>
          </p:nvSpPr>
          <p:spPr bwMode="auto">
            <a:xfrm>
              <a:off x="5068129" y="4403586"/>
              <a:ext cx="287029" cy="336234"/>
            </a:xfrm>
            <a:custGeom>
              <a:avLst/>
              <a:gdLst>
                <a:gd name="T0" fmla="*/ 118 w 140"/>
                <a:gd name="T1" fmla="*/ 50 h 164"/>
                <a:gd name="T2" fmla="*/ 112 w 140"/>
                <a:gd name="T3" fmla="*/ 36 h 164"/>
                <a:gd name="T4" fmla="*/ 102 w 140"/>
                <a:gd name="T5" fmla="*/ 26 h 164"/>
                <a:gd name="T6" fmla="*/ 90 w 140"/>
                <a:gd name="T7" fmla="*/ 20 h 164"/>
                <a:gd name="T8" fmla="*/ 74 w 140"/>
                <a:gd name="T9" fmla="*/ 18 h 164"/>
                <a:gd name="T10" fmla="*/ 50 w 140"/>
                <a:gd name="T11" fmla="*/ 24 h 164"/>
                <a:gd name="T12" fmla="*/ 34 w 140"/>
                <a:gd name="T13" fmla="*/ 38 h 164"/>
                <a:gd name="T14" fmla="*/ 24 w 140"/>
                <a:gd name="T15" fmla="*/ 58 h 164"/>
                <a:gd name="T16" fmla="*/ 20 w 140"/>
                <a:gd name="T17" fmla="*/ 80 h 164"/>
                <a:gd name="T18" fmla="*/ 22 w 140"/>
                <a:gd name="T19" fmla="*/ 94 h 164"/>
                <a:gd name="T20" fmla="*/ 28 w 140"/>
                <a:gd name="T21" fmla="*/ 118 h 164"/>
                <a:gd name="T22" fmla="*/ 40 w 140"/>
                <a:gd name="T23" fmla="*/ 134 h 164"/>
                <a:gd name="T24" fmla="*/ 60 w 140"/>
                <a:gd name="T25" fmla="*/ 144 h 164"/>
                <a:gd name="T26" fmla="*/ 74 w 140"/>
                <a:gd name="T27" fmla="*/ 146 h 164"/>
                <a:gd name="T28" fmla="*/ 92 w 140"/>
                <a:gd name="T29" fmla="*/ 142 h 164"/>
                <a:gd name="T30" fmla="*/ 106 w 140"/>
                <a:gd name="T31" fmla="*/ 134 h 164"/>
                <a:gd name="T32" fmla="*/ 114 w 140"/>
                <a:gd name="T33" fmla="*/ 120 h 164"/>
                <a:gd name="T34" fmla="*/ 118 w 140"/>
                <a:gd name="T35" fmla="*/ 102 h 164"/>
                <a:gd name="T36" fmla="*/ 140 w 140"/>
                <a:gd name="T37" fmla="*/ 102 h 164"/>
                <a:gd name="T38" fmla="*/ 132 w 140"/>
                <a:gd name="T39" fmla="*/ 128 h 164"/>
                <a:gd name="T40" fmla="*/ 120 w 140"/>
                <a:gd name="T41" fmla="*/ 146 h 164"/>
                <a:gd name="T42" fmla="*/ 98 w 140"/>
                <a:gd name="T43" fmla="*/ 160 h 164"/>
                <a:gd name="T44" fmla="*/ 72 w 140"/>
                <a:gd name="T45" fmla="*/ 164 h 164"/>
                <a:gd name="T46" fmla="*/ 56 w 140"/>
                <a:gd name="T47" fmla="*/ 162 h 164"/>
                <a:gd name="T48" fmla="*/ 28 w 140"/>
                <a:gd name="T49" fmla="*/ 150 h 164"/>
                <a:gd name="T50" fmla="*/ 10 w 140"/>
                <a:gd name="T51" fmla="*/ 128 h 164"/>
                <a:gd name="T52" fmla="*/ 2 w 140"/>
                <a:gd name="T53" fmla="*/ 98 h 164"/>
                <a:gd name="T54" fmla="*/ 0 w 140"/>
                <a:gd name="T55" fmla="*/ 82 h 164"/>
                <a:gd name="T56" fmla="*/ 4 w 140"/>
                <a:gd name="T57" fmla="*/ 50 h 164"/>
                <a:gd name="T58" fmla="*/ 20 w 140"/>
                <a:gd name="T59" fmla="*/ 24 h 164"/>
                <a:gd name="T60" fmla="*/ 42 w 140"/>
                <a:gd name="T61" fmla="*/ 6 h 164"/>
                <a:gd name="T62" fmla="*/ 74 w 140"/>
                <a:gd name="T63" fmla="*/ 0 h 164"/>
                <a:gd name="T64" fmla="*/ 86 w 140"/>
                <a:gd name="T65" fmla="*/ 2 h 164"/>
                <a:gd name="T66" fmla="*/ 108 w 140"/>
                <a:gd name="T67" fmla="*/ 8 h 164"/>
                <a:gd name="T68" fmla="*/ 124 w 140"/>
                <a:gd name="T69" fmla="*/ 20 h 164"/>
                <a:gd name="T70" fmla="*/ 136 w 140"/>
                <a:gd name="T71" fmla="*/ 40 h 164"/>
                <a:gd name="T72" fmla="*/ 118 w 140"/>
                <a:gd name="T73" fmla="*/ 5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0" h="164">
                  <a:moveTo>
                    <a:pt x="118" y="50"/>
                  </a:moveTo>
                  <a:lnTo>
                    <a:pt x="118" y="50"/>
                  </a:lnTo>
                  <a:lnTo>
                    <a:pt x="116" y="44"/>
                  </a:lnTo>
                  <a:lnTo>
                    <a:pt x="112" y="36"/>
                  </a:lnTo>
                  <a:lnTo>
                    <a:pt x="108" y="30"/>
                  </a:lnTo>
                  <a:lnTo>
                    <a:pt x="102" y="26"/>
                  </a:lnTo>
                  <a:lnTo>
                    <a:pt x="96" y="22"/>
                  </a:lnTo>
                  <a:lnTo>
                    <a:pt x="90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60" y="20"/>
                  </a:lnTo>
                  <a:lnTo>
                    <a:pt x="50" y="24"/>
                  </a:lnTo>
                  <a:lnTo>
                    <a:pt x="40" y="30"/>
                  </a:lnTo>
                  <a:lnTo>
                    <a:pt x="34" y="38"/>
                  </a:lnTo>
                  <a:lnTo>
                    <a:pt x="28" y="46"/>
                  </a:lnTo>
                  <a:lnTo>
                    <a:pt x="24" y="58"/>
                  </a:lnTo>
                  <a:lnTo>
                    <a:pt x="22" y="68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2" y="94"/>
                  </a:lnTo>
                  <a:lnTo>
                    <a:pt x="24" y="106"/>
                  </a:lnTo>
                  <a:lnTo>
                    <a:pt x="28" y="118"/>
                  </a:lnTo>
                  <a:lnTo>
                    <a:pt x="34" y="126"/>
                  </a:lnTo>
                  <a:lnTo>
                    <a:pt x="40" y="134"/>
                  </a:lnTo>
                  <a:lnTo>
                    <a:pt x="50" y="140"/>
                  </a:lnTo>
                  <a:lnTo>
                    <a:pt x="60" y="144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84" y="146"/>
                  </a:lnTo>
                  <a:lnTo>
                    <a:pt x="92" y="142"/>
                  </a:lnTo>
                  <a:lnTo>
                    <a:pt x="100" y="138"/>
                  </a:lnTo>
                  <a:lnTo>
                    <a:pt x="106" y="134"/>
                  </a:lnTo>
                  <a:lnTo>
                    <a:pt x="110" y="126"/>
                  </a:lnTo>
                  <a:lnTo>
                    <a:pt x="114" y="120"/>
                  </a:lnTo>
                  <a:lnTo>
                    <a:pt x="118" y="110"/>
                  </a:lnTo>
                  <a:lnTo>
                    <a:pt x="118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38" y="116"/>
                  </a:lnTo>
                  <a:lnTo>
                    <a:pt x="132" y="128"/>
                  </a:lnTo>
                  <a:lnTo>
                    <a:pt x="126" y="138"/>
                  </a:lnTo>
                  <a:lnTo>
                    <a:pt x="120" y="146"/>
                  </a:lnTo>
                  <a:lnTo>
                    <a:pt x="110" y="154"/>
                  </a:lnTo>
                  <a:lnTo>
                    <a:pt x="98" y="160"/>
                  </a:lnTo>
                  <a:lnTo>
                    <a:pt x="86" y="162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56" y="162"/>
                  </a:lnTo>
                  <a:lnTo>
                    <a:pt x="40" y="158"/>
                  </a:lnTo>
                  <a:lnTo>
                    <a:pt x="28" y="150"/>
                  </a:lnTo>
                  <a:lnTo>
                    <a:pt x="18" y="140"/>
                  </a:lnTo>
                  <a:lnTo>
                    <a:pt x="10" y="128"/>
                  </a:lnTo>
                  <a:lnTo>
                    <a:pt x="4" y="114"/>
                  </a:lnTo>
                  <a:lnTo>
                    <a:pt x="2" y="98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66"/>
                  </a:lnTo>
                  <a:lnTo>
                    <a:pt x="4" y="50"/>
                  </a:lnTo>
                  <a:lnTo>
                    <a:pt x="10" y="36"/>
                  </a:lnTo>
                  <a:lnTo>
                    <a:pt x="20" y="24"/>
                  </a:lnTo>
                  <a:lnTo>
                    <a:pt x="30" y="14"/>
                  </a:lnTo>
                  <a:lnTo>
                    <a:pt x="42" y="6"/>
                  </a:lnTo>
                  <a:lnTo>
                    <a:pt x="56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6" y="2"/>
                  </a:lnTo>
                  <a:lnTo>
                    <a:pt x="96" y="4"/>
                  </a:lnTo>
                  <a:lnTo>
                    <a:pt x="108" y="8"/>
                  </a:lnTo>
                  <a:lnTo>
                    <a:pt x="116" y="14"/>
                  </a:lnTo>
                  <a:lnTo>
                    <a:pt x="124" y="20"/>
                  </a:lnTo>
                  <a:lnTo>
                    <a:pt x="130" y="30"/>
                  </a:lnTo>
                  <a:lnTo>
                    <a:pt x="136" y="40"/>
                  </a:lnTo>
                  <a:lnTo>
                    <a:pt x="138" y="50"/>
                  </a:lnTo>
                  <a:lnTo>
                    <a:pt x="118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3" name="Freeform 111"/>
            <p:cNvSpPr>
              <a:spLocks noEditPoints="1"/>
            </p:cNvSpPr>
            <p:nvPr/>
          </p:nvSpPr>
          <p:spPr bwMode="auto">
            <a:xfrm>
              <a:off x="5387962" y="4493795"/>
              <a:ext cx="225523" cy="241925"/>
            </a:xfrm>
            <a:custGeom>
              <a:avLst/>
              <a:gdLst>
                <a:gd name="T0" fmla="*/ 54 w 110"/>
                <a:gd name="T1" fmla="*/ 0 h 118"/>
                <a:gd name="T2" fmla="*/ 78 w 110"/>
                <a:gd name="T3" fmla="*/ 6 h 118"/>
                <a:gd name="T4" fmla="*/ 96 w 110"/>
                <a:gd name="T5" fmla="*/ 18 h 118"/>
                <a:gd name="T6" fmla="*/ 106 w 110"/>
                <a:gd name="T7" fmla="*/ 36 h 118"/>
                <a:gd name="T8" fmla="*/ 110 w 110"/>
                <a:gd name="T9" fmla="*/ 60 h 118"/>
                <a:gd name="T10" fmla="*/ 108 w 110"/>
                <a:gd name="T11" fmla="*/ 72 h 118"/>
                <a:gd name="T12" fmla="*/ 102 w 110"/>
                <a:gd name="T13" fmla="*/ 92 h 118"/>
                <a:gd name="T14" fmla="*/ 88 w 110"/>
                <a:gd name="T15" fmla="*/ 108 h 118"/>
                <a:gd name="T16" fmla="*/ 68 w 110"/>
                <a:gd name="T17" fmla="*/ 118 h 118"/>
                <a:gd name="T18" fmla="*/ 54 w 110"/>
                <a:gd name="T19" fmla="*/ 118 h 118"/>
                <a:gd name="T20" fmla="*/ 32 w 110"/>
                <a:gd name="T21" fmla="*/ 114 h 118"/>
                <a:gd name="T22" fmla="*/ 14 w 110"/>
                <a:gd name="T23" fmla="*/ 102 h 118"/>
                <a:gd name="T24" fmla="*/ 4 w 110"/>
                <a:gd name="T25" fmla="*/ 82 h 118"/>
                <a:gd name="T26" fmla="*/ 0 w 110"/>
                <a:gd name="T27" fmla="*/ 60 h 118"/>
                <a:gd name="T28" fmla="*/ 2 w 110"/>
                <a:gd name="T29" fmla="*/ 48 h 118"/>
                <a:gd name="T30" fmla="*/ 8 w 110"/>
                <a:gd name="T31" fmla="*/ 26 h 118"/>
                <a:gd name="T32" fmla="*/ 22 w 110"/>
                <a:gd name="T33" fmla="*/ 10 h 118"/>
                <a:gd name="T34" fmla="*/ 42 w 110"/>
                <a:gd name="T35" fmla="*/ 2 h 118"/>
                <a:gd name="T36" fmla="*/ 54 w 110"/>
                <a:gd name="T37" fmla="*/ 0 h 118"/>
                <a:gd name="T38" fmla="*/ 54 w 110"/>
                <a:gd name="T39" fmla="*/ 102 h 118"/>
                <a:gd name="T40" fmla="*/ 68 w 110"/>
                <a:gd name="T41" fmla="*/ 100 h 118"/>
                <a:gd name="T42" fmla="*/ 80 w 110"/>
                <a:gd name="T43" fmla="*/ 92 h 118"/>
                <a:gd name="T44" fmla="*/ 88 w 110"/>
                <a:gd name="T45" fmla="*/ 78 h 118"/>
                <a:gd name="T46" fmla="*/ 90 w 110"/>
                <a:gd name="T47" fmla="*/ 60 h 118"/>
                <a:gd name="T48" fmla="*/ 90 w 110"/>
                <a:gd name="T49" fmla="*/ 50 h 118"/>
                <a:gd name="T50" fmla="*/ 84 w 110"/>
                <a:gd name="T51" fmla="*/ 34 h 118"/>
                <a:gd name="T52" fmla="*/ 74 w 110"/>
                <a:gd name="T53" fmla="*/ 24 h 118"/>
                <a:gd name="T54" fmla="*/ 62 w 110"/>
                <a:gd name="T55" fmla="*/ 18 h 118"/>
                <a:gd name="T56" fmla="*/ 54 w 110"/>
                <a:gd name="T57" fmla="*/ 16 h 118"/>
                <a:gd name="T58" fmla="*/ 42 w 110"/>
                <a:gd name="T59" fmla="*/ 20 h 118"/>
                <a:gd name="T60" fmla="*/ 30 w 110"/>
                <a:gd name="T61" fmla="*/ 28 h 118"/>
                <a:gd name="T62" fmla="*/ 22 w 110"/>
                <a:gd name="T63" fmla="*/ 42 h 118"/>
                <a:gd name="T64" fmla="*/ 20 w 110"/>
                <a:gd name="T65" fmla="*/ 60 h 118"/>
                <a:gd name="T66" fmla="*/ 20 w 110"/>
                <a:gd name="T67" fmla="*/ 70 h 118"/>
                <a:gd name="T68" fmla="*/ 26 w 110"/>
                <a:gd name="T69" fmla="*/ 86 h 118"/>
                <a:gd name="T70" fmla="*/ 36 w 110"/>
                <a:gd name="T71" fmla="*/ 96 h 118"/>
                <a:gd name="T72" fmla="*/ 48 w 110"/>
                <a:gd name="T73" fmla="*/ 102 h 118"/>
                <a:gd name="T74" fmla="*/ 54 w 110"/>
                <a:gd name="T75" fmla="*/ 10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118">
                  <a:moveTo>
                    <a:pt x="54" y="0"/>
                  </a:moveTo>
                  <a:lnTo>
                    <a:pt x="54" y="0"/>
                  </a:lnTo>
                  <a:lnTo>
                    <a:pt x="68" y="2"/>
                  </a:lnTo>
                  <a:lnTo>
                    <a:pt x="78" y="6"/>
                  </a:lnTo>
                  <a:lnTo>
                    <a:pt x="88" y="10"/>
                  </a:lnTo>
                  <a:lnTo>
                    <a:pt x="96" y="18"/>
                  </a:lnTo>
                  <a:lnTo>
                    <a:pt x="102" y="26"/>
                  </a:lnTo>
                  <a:lnTo>
                    <a:pt x="106" y="36"/>
                  </a:lnTo>
                  <a:lnTo>
                    <a:pt x="108" y="4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72"/>
                  </a:lnTo>
                  <a:lnTo>
                    <a:pt x="106" y="82"/>
                  </a:lnTo>
                  <a:lnTo>
                    <a:pt x="102" y="92"/>
                  </a:lnTo>
                  <a:lnTo>
                    <a:pt x="96" y="102"/>
                  </a:lnTo>
                  <a:lnTo>
                    <a:pt x="88" y="108"/>
                  </a:lnTo>
                  <a:lnTo>
                    <a:pt x="78" y="114"/>
                  </a:lnTo>
                  <a:lnTo>
                    <a:pt x="68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2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2"/>
                  </a:lnTo>
                  <a:lnTo>
                    <a:pt x="4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8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close/>
                  <a:moveTo>
                    <a:pt x="54" y="102"/>
                  </a:moveTo>
                  <a:lnTo>
                    <a:pt x="54" y="102"/>
                  </a:lnTo>
                  <a:lnTo>
                    <a:pt x="62" y="102"/>
                  </a:lnTo>
                  <a:lnTo>
                    <a:pt x="68" y="100"/>
                  </a:lnTo>
                  <a:lnTo>
                    <a:pt x="74" y="96"/>
                  </a:lnTo>
                  <a:lnTo>
                    <a:pt x="80" y="92"/>
                  </a:lnTo>
                  <a:lnTo>
                    <a:pt x="84" y="86"/>
                  </a:lnTo>
                  <a:lnTo>
                    <a:pt x="88" y="78"/>
                  </a:lnTo>
                  <a:lnTo>
                    <a:pt x="90" y="70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0" y="50"/>
                  </a:lnTo>
                  <a:lnTo>
                    <a:pt x="88" y="42"/>
                  </a:lnTo>
                  <a:lnTo>
                    <a:pt x="84" y="34"/>
                  </a:lnTo>
                  <a:lnTo>
                    <a:pt x="80" y="28"/>
                  </a:lnTo>
                  <a:lnTo>
                    <a:pt x="74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48" y="18"/>
                  </a:lnTo>
                  <a:lnTo>
                    <a:pt x="42" y="20"/>
                  </a:lnTo>
                  <a:lnTo>
                    <a:pt x="36" y="24"/>
                  </a:lnTo>
                  <a:lnTo>
                    <a:pt x="30" y="28"/>
                  </a:lnTo>
                  <a:lnTo>
                    <a:pt x="26" y="34"/>
                  </a:lnTo>
                  <a:lnTo>
                    <a:pt x="22" y="42"/>
                  </a:lnTo>
                  <a:lnTo>
                    <a:pt x="20" y="5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70"/>
                  </a:lnTo>
                  <a:lnTo>
                    <a:pt x="22" y="78"/>
                  </a:lnTo>
                  <a:lnTo>
                    <a:pt x="26" y="86"/>
                  </a:lnTo>
                  <a:lnTo>
                    <a:pt x="30" y="92"/>
                  </a:lnTo>
                  <a:lnTo>
                    <a:pt x="36" y="96"/>
                  </a:lnTo>
                  <a:lnTo>
                    <a:pt x="42" y="100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54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4" name="Freeform 112"/>
            <p:cNvSpPr>
              <a:spLocks/>
            </p:cNvSpPr>
            <p:nvPr/>
          </p:nvSpPr>
          <p:spPr bwMode="auto">
            <a:xfrm>
              <a:off x="5658589" y="4493795"/>
              <a:ext cx="323933" cy="237824"/>
            </a:xfrm>
            <a:custGeom>
              <a:avLst/>
              <a:gdLst>
                <a:gd name="T0" fmla="*/ 0 w 158"/>
                <a:gd name="T1" fmla="*/ 4 h 116"/>
                <a:gd name="T2" fmla="*/ 18 w 158"/>
                <a:gd name="T3" fmla="*/ 4 h 116"/>
                <a:gd name="T4" fmla="*/ 18 w 158"/>
                <a:gd name="T5" fmla="*/ 20 h 116"/>
                <a:gd name="T6" fmla="*/ 18 w 158"/>
                <a:gd name="T7" fmla="*/ 20 h 116"/>
                <a:gd name="T8" fmla="*/ 18 w 158"/>
                <a:gd name="T9" fmla="*/ 20 h 116"/>
                <a:gd name="T10" fmla="*/ 24 w 158"/>
                <a:gd name="T11" fmla="*/ 12 h 116"/>
                <a:gd name="T12" fmla="*/ 32 w 158"/>
                <a:gd name="T13" fmla="*/ 6 h 116"/>
                <a:gd name="T14" fmla="*/ 42 w 158"/>
                <a:gd name="T15" fmla="*/ 2 h 116"/>
                <a:gd name="T16" fmla="*/ 54 w 158"/>
                <a:gd name="T17" fmla="*/ 0 h 116"/>
                <a:gd name="T18" fmla="*/ 54 w 158"/>
                <a:gd name="T19" fmla="*/ 0 h 116"/>
                <a:gd name="T20" fmla="*/ 64 w 158"/>
                <a:gd name="T21" fmla="*/ 2 h 116"/>
                <a:gd name="T22" fmla="*/ 72 w 158"/>
                <a:gd name="T23" fmla="*/ 4 h 116"/>
                <a:gd name="T24" fmla="*/ 80 w 158"/>
                <a:gd name="T25" fmla="*/ 10 h 116"/>
                <a:gd name="T26" fmla="*/ 84 w 158"/>
                <a:gd name="T27" fmla="*/ 20 h 116"/>
                <a:gd name="T28" fmla="*/ 84 w 158"/>
                <a:gd name="T29" fmla="*/ 20 h 116"/>
                <a:gd name="T30" fmla="*/ 92 w 158"/>
                <a:gd name="T31" fmla="*/ 12 h 116"/>
                <a:gd name="T32" fmla="*/ 100 w 158"/>
                <a:gd name="T33" fmla="*/ 6 h 116"/>
                <a:gd name="T34" fmla="*/ 110 w 158"/>
                <a:gd name="T35" fmla="*/ 2 h 116"/>
                <a:gd name="T36" fmla="*/ 120 w 158"/>
                <a:gd name="T37" fmla="*/ 0 h 116"/>
                <a:gd name="T38" fmla="*/ 120 w 158"/>
                <a:gd name="T39" fmla="*/ 0 h 116"/>
                <a:gd name="T40" fmla="*/ 136 w 158"/>
                <a:gd name="T41" fmla="*/ 2 h 116"/>
                <a:gd name="T42" fmla="*/ 142 w 158"/>
                <a:gd name="T43" fmla="*/ 4 h 116"/>
                <a:gd name="T44" fmla="*/ 148 w 158"/>
                <a:gd name="T45" fmla="*/ 8 h 116"/>
                <a:gd name="T46" fmla="*/ 152 w 158"/>
                <a:gd name="T47" fmla="*/ 12 h 116"/>
                <a:gd name="T48" fmla="*/ 156 w 158"/>
                <a:gd name="T49" fmla="*/ 18 h 116"/>
                <a:gd name="T50" fmla="*/ 158 w 158"/>
                <a:gd name="T51" fmla="*/ 26 h 116"/>
                <a:gd name="T52" fmla="*/ 158 w 158"/>
                <a:gd name="T53" fmla="*/ 34 h 116"/>
                <a:gd name="T54" fmla="*/ 158 w 158"/>
                <a:gd name="T55" fmla="*/ 116 h 116"/>
                <a:gd name="T56" fmla="*/ 140 w 158"/>
                <a:gd name="T57" fmla="*/ 116 h 116"/>
                <a:gd name="T58" fmla="*/ 140 w 158"/>
                <a:gd name="T59" fmla="*/ 42 h 116"/>
                <a:gd name="T60" fmla="*/ 140 w 158"/>
                <a:gd name="T61" fmla="*/ 42 h 116"/>
                <a:gd name="T62" fmla="*/ 138 w 158"/>
                <a:gd name="T63" fmla="*/ 32 h 116"/>
                <a:gd name="T64" fmla="*/ 136 w 158"/>
                <a:gd name="T65" fmla="*/ 24 h 116"/>
                <a:gd name="T66" fmla="*/ 132 w 158"/>
                <a:gd name="T67" fmla="*/ 22 h 116"/>
                <a:gd name="T68" fmla="*/ 128 w 158"/>
                <a:gd name="T69" fmla="*/ 18 h 116"/>
                <a:gd name="T70" fmla="*/ 118 w 158"/>
                <a:gd name="T71" fmla="*/ 16 h 116"/>
                <a:gd name="T72" fmla="*/ 118 w 158"/>
                <a:gd name="T73" fmla="*/ 16 h 116"/>
                <a:gd name="T74" fmla="*/ 106 w 158"/>
                <a:gd name="T75" fmla="*/ 18 h 116"/>
                <a:gd name="T76" fmla="*/ 96 w 158"/>
                <a:gd name="T77" fmla="*/ 24 h 116"/>
                <a:gd name="T78" fmla="*/ 90 w 158"/>
                <a:gd name="T79" fmla="*/ 34 h 116"/>
                <a:gd name="T80" fmla="*/ 88 w 158"/>
                <a:gd name="T81" fmla="*/ 46 h 116"/>
                <a:gd name="T82" fmla="*/ 88 w 158"/>
                <a:gd name="T83" fmla="*/ 116 h 116"/>
                <a:gd name="T84" fmla="*/ 70 w 158"/>
                <a:gd name="T85" fmla="*/ 116 h 116"/>
                <a:gd name="T86" fmla="*/ 70 w 158"/>
                <a:gd name="T87" fmla="*/ 42 h 116"/>
                <a:gd name="T88" fmla="*/ 70 w 158"/>
                <a:gd name="T89" fmla="*/ 42 h 116"/>
                <a:gd name="T90" fmla="*/ 68 w 158"/>
                <a:gd name="T91" fmla="*/ 32 h 116"/>
                <a:gd name="T92" fmla="*/ 66 w 158"/>
                <a:gd name="T93" fmla="*/ 24 h 116"/>
                <a:gd name="T94" fmla="*/ 58 w 158"/>
                <a:gd name="T95" fmla="*/ 18 h 116"/>
                <a:gd name="T96" fmla="*/ 48 w 158"/>
                <a:gd name="T97" fmla="*/ 16 h 116"/>
                <a:gd name="T98" fmla="*/ 48 w 158"/>
                <a:gd name="T99" fmla="*/ 16 h 116"/>
                <a:gd name="T100" fmla="*/ 40 w 158"/>
                <a:gd name="T101" fmla="*/ 18 h 116"/>
                <a:gd name="T102" fmla="*/ 34 w 158"/>
                <a:gd name="T103" fmla="*/ 20 h 116"/>
                <a:gd name="T104" fmla="*/ 30 w 158"/>
                <a:gd name="T105" fmla="*/ 24 h 116"/>
                <a:gd name="T106" fmla="*/ 24 w 158"/>
                <a:gd name="T107" fmla="*/ 28 h 116"/>
                <a:gd name="T108" fmla="*/ 20 w 158"/>
                <a:gd name="T109" fmla="*/ 38 h 116"/>
                <a:gd name="T110" fmla="*/ 18 w 158"/>
                <a:gd name="T111" fmla="*/ 46 h 116"/>
                <a:gd name="T112" fmla="*/ 18 w 158"/>
                <a:gd name="T113" fmla="*/ 116 h 116"/>
                <a:gd name="T114" fmla="*/ 0 w 158"/>
                <a:gd name="T115" fmla="*/ 116 h 116"/>
                <a:gd name="T116" fmla="*/ 0 w 158"/>
                <a:gd name="T11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8" h="116">
                  <a:moveTo>
                    <a:pt x="0" y="4"/>
                  </a:moveTo>
                  <a:lnTo>
                    <a:pt x="18" y="4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4" y="12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2" y="4"/>
                  </a:lnTo>
                  <a:lnTo>
                    <a:pt x="80" y="1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92" y="12"/>
                  </a:lnTo>
                  <a:lnTo>
                    <a:pt x="100" y="6"/>
                  </a:lnTo>
                  <a:lnTo>
                    <a:pt x="110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36" y="2"/>
                  </a:lnTo>
                  <a:lnTo>
                    <a:pt x="142" y="4"/>
                  </a:lnTo>
                  <a:lnTo>
                    <a:pt x="148" y="8"/>
                  </a:lnTo>
                  <a:lnTo>
                    <a:pt x="152" y="12"/>
                  </a:lnTo>
                  <a:lnTo>
                    <a:pt x="156" y="18"/>
                  </a:lnTo>
                  <a:lnTo>
                    <a:pt x="158" y="26"/>
                  </a:lnTo>
                  <a:lnTo>
                    <a:pt x="158" y="34"/>
                  </a:lnTo>
                  <a:lnTo>
                    <a:pt x="158" y="116"/>
                  </a:lnTo>
                  <a:lnTo>
                    <a:pt x="140" y="116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38" y="32"/>
                  </a:lnTo>
                  <a:lnTo>
                    <a:pt x="136" y="24"/>
                  </a:lnTo>
                  <a:lnTo>
                    <a:pt x="132" y="22"/>
                  </a:lnTo>
                  <a:lnTo>
                    <a:pt x="128" y="18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06" y="18"/>
                  </a:lnTo>
                  <a:lnTo>
                    <a:pt x="96" y="24"/>
                  </a:lnTo>
                  <a:lnTo>
                    <a:pt x="90" y="34"/>
                  </a:lnTo>
                  <a:lnTo>
                    <a:pt x="88" y="46"/>
                  </a:lnTo>
                  <a:lnTo>
                    <a:pt x="88" y="116"/>
                  </a:lnTo>
                  <a:lnTo>
                    <a:pt x="70" y="116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8" y="32"/>
                  </a:lnTo>
                  <a:lnTo>
                    <a:pt x="66" y="24"/>
                  </a:lnTo>
                  <a:lnTo>
                    <a:pt x="58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0" y="18"/>
                  </a:lnTo>
                  <a:lnTo>
                    <a:pt x="34" y="20"/>
                  </a:lnTo>
                  <a:lnTo>
                    <a:pt x="30" y="24"/>
                  </a:lnTo>
                  <a:lnTo>
                    <a:pt x="24" y="28"/>
                  </a:lnTo>
                  <a:lnTo>
                    <a:pt x="20" y="38"/>
                  </a:lnTo>
                  <a:lnTo>
                    <a:pt x="18" y="46"/>
                  </a:lnTo>
                  <a:lnTo>
                    <a:pt x="18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5" name="Freeform 113"/>
            <p:cNvSpPr>
              <a:spLocks noEditPoints="1"/>
            </p:cNvSpPr>
            <p:nvPr/>
          </p:nvSpPr>
          <p:spPr bwMode="auto">
            <a:xfrm>
              <a:off x="6039928" y="4493795"/>
              <a:ext cx="221423" cy="328033"/>
            </a:xfrm>
            <a:custGeom>
              <a:avLst/>
              <a:gdLst>
                <a:gd name="T0" fmla="*/ 18 w 108"/>
                <a:gd name="T1" fmla="*/ 4 h 160"/>
                <a:gd name="T2" fmla="*/ 20 w 108"/>
                <a:gd name="T3" fmla="*/ 18 h 160"/>
                <a:gd name="T4" fmla="*/ 26 w 108"/>
                <a:gd name="T5" fmla="*/ 10 h 160"/>
                <a:gd name="T6" fmla="*/ 44 w 108"/>
                <a:gd name="T7" fmla="*/ 2 h 160"/>
                <a:gd name="T8" fmla="*/ 56 w 108"/>
                <a:gd name="T9" fmla="*/ 0 h 160"/>
                <a:gd name="T10" fmla="*/ 78 w 108"/>
                <a:gd name="T11" fmla="*/ 6 h 160"/>
                <a:gd name="T12" fmla="*/ 94 w 108"/>
                <a:gd name="T13" fmla="*/ 18 h 160"/>
                <a:gd name="T14" fmla="*/ 104 w 108"/>
                <a:gd name="T15" fmla="*/ 38 h 160"/>
                <a:gd name="T16" fmla="*/ 108 w 108"/>
                <a:gd name="T17" fmla="*/ 60 h 160"/>
                <a:gd name="T18" fmla="*/ 106 w 108"/>
                <a:gd name="T19" fmla="*/ 72 h 160"/>
                <a:gd name="T20" fmla="*/ 100 w 108"/>
                <a:gd name="T21" fmla="*/ 92 h 160"/>
                <a:gd name="T22" fmla="*/ 88 w 108"/>
                <a:gd name="T23" fmla="*/ 108 h 160"/>
                <a:gd name="T24" fmla="*/ 68 w 108"/>
                <a:gd name="T25" fmla="*/ 118 h 160"/>
                <a:gd name="T26" fmla="*/ 56 w 108"/>
                <a:gd name="T27" fmla="*/ 118 h 160"/>
                <a:gd name="T28" fmla="*/ 36 w 108"/>
                <a:gd name="T29" fmla="*/ 114 h 160"/>
                <a:gd name="T30" fmla="*/ 20 w 108"/>
                <a:gd name="T31" fmla="*/ 100 h 160"/>
                <a:gd name="T32" fmla="*/ 18 w 108"/>
                <a:gd name="T33" fmla="*/ 160 h 160"/>
                <a:gd name="T34" fmla="*/ 0 w 108"/>
                <a:gd name="T35" fmla="*/ 4 h 160"/>
                <a:gd name="T36" fmla="*/ 52 w 108"/>
                <a:gd name="T37" fmla="*/ 16 h 160"/>
                <a:gd name="T38" fmla="*/ 36 w 108"/>
                <a:gd name="T39" fmla="*/ 20 h 160"/>
                <a:gd name="T40" fmla="*/ 26 w 108"/>
                <a:gd name="T41" fmla="*/ 30 h 160"/>
                <a:gd name="T42" fmla="*/ 20 w 108"/>
                <a:gd name="T43" fmla="*/ 44 h 160"/>
                <a:gd name="T44" fmla="*/ 18 w 108"/>
                <a:gd name="T45" fmla="*/ 60 h 160"/>
                <a:gd name="T46" fmla="*/ 22 w 108"/>
                <a:gd name="T47" fmla="*/ 82 h 160"/>
                <a:gd name="T48" fmla="*/ 32 w 108"/>
                <a:gd name="T49" fmla="*/ 94 h 160"/>
                <a:gd name="T50" fmla="*/ 44 w 108"/>
                <a:gd name="T51" fmla="*/ 102 h 160"/>
                <a:gd name="T52" fmla="*/ 54 w 108"/>
                <a:gd name="T53" fmla="*/ 102 h 160"/>
                <a:gd name="T54" fmla="*/ 70 w 108"/>
                <a:gd name="T55" fmla="*/ 98 h 160"/>
                <a:gd name="T56" fmla="*/ 80 w 108"/>
                <a:gd name="T57" fmla="*/ 88 h 160"/>
                <a:gd name="T58" fmla="*/ 86 w 108"/>
                <a:gd name="T59" fmla="*/ 74 h 160"/>
                <a:gd name="T60" fmla="*/ 88 w 108"/>
                <a:gd name="T61" fmla="*/ 58 h 160"/>
                <a:gd name="T62" fmla="*/ 82 w 108"/>
                <a:gd name="T63" fmla="*/ 36 h 160"/>
                <a:gd name="T64" fmla="*/ 74 w 108"/>
                <a:gd name="T65" fmla="*/ 24 h 160"/>
                <a:gd name="T66" fmla="*/ 62 w 108"/>
                <a:gd name="T67" fmla="*/ 18 h 160"/>
                <a:gd name="T68" fmla="*/ 52 w 108"/>
                <a:gd name="T69" fmla="*/ 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8" h="160">
                  <a:moveTo>
                    <a:pt x="0" y="4"/>
                  </a:moveTo>
                  <a:lnTo>
                    <a:pt x="18" y="4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6" y="10"/>
                  </a:lnTo>
                  <a:lnTo>
                    <a:pt x="34" y="4"/>
                  </a:lnTo>
                  <a:lnTo>
                    <a:pt x="4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6"/>
                  </a:lnTo>
                  <a:lnTo>
                    <a:pt x="88" y="10"/>
                  </a:lnTo>
                  <a:lnTo>
                    <a:pt x="94" y="18"/>
                  </a:lnTo>
                  <a:lnTo>
                    <a:pt x="100" y="28"/>
                  </a:lnTo>
                  <a:lnTo>
                    <a:pt x="104" y="38"/>
                  </a:lnTo>
                  <a:lnTo>
                    <a:pt x="106" y="48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6" y="72"/>
                  </a:lnTo>
                  <a:lnTo>
                    <a:pt x="104" y="82"/>
                  </a:lnTo>
                  <a:lnTo>
                    <a:pt x="100" y="92"/>
                  </a:lnTo>
                  <a:lnTo>
                    <a:pt x="94" y="102"/>
                  </a:lnTo>
                  <a:lnTo>
                    <a:pt x="88" y="108"/>
                  </a:lnTo>
                  <a:lnTo>
                    <a:pt x="78" y="114"/>
                  </a:lnTo>
                  <a:lnTo>
                    <a:pt x="68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46" y="118"/>
                  </a:lnTo>
                  <a:lnTo>
                    <a:pt x="36" y="114"/>
                  </a:lnTo>
                  <a:lnTo>
                    <a:pt x="26" y="110"/>
                  </a:lnTo>
                  <a:lnTo>
                    <a:pt x="20" y="100"/>
                  </a:lnTo>
                  <a:lnTo>
                    <a:pt x="18" y="100"/>
                  </a:lnTo>
                  <a:lnTo>
                    <a:pt x="18" y="160"/>
                  </a:lnTo>
                  <a:lnTo>
                    <a:pt x="0" y="160"/>
                  </a:lnTo>
                  <a:lnTo>
                    <a:pt x="0" y="4"/>
                  </a:lnTo>
                  <a:close/>
                  <a:moveTo>
                    <a:pt x="52" y="16"/>
                  </a:moveTo>
                  <a:lnTo>
                    <a:pt x="52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30" y="24"/>
                  </a:lnTo>
                  <a:lnTo>
                    <a:pt x="26" y="30"/>
                  </a:lnTo>
                  <a:lnTo>
                    <a:pt x="22" y="36"/>
                  </a:lnTo>
                  <a:lnTo>
                    <a:pt x="20" y="44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0" y="76"/>
                  </a:lnTo>
                  <a:lnTo>
                    <a:pt x="22" y="82"/>
                  </a:lnTo>
                  <a:lnTo>
                    <a:pt x="26" y="90"/>
                  </a:lnTo>
                  <a:lnTo>
                    <a:pt x="32" y="94"/>
                  </a:lnTo>
                  <a:lnTo>
                    <a:pt x="38" y="98"/>
                  </a:lnTo>
                  <a:lnTo>
                    <a:pt x="4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2" y="102"/>
                  </a:lnTo>
                  <a:lnTo>
                    <a:pt x="70" y="98"/>
                  </a:lnTo>
                  <a:lnTo>
                    <a:pt x="76" y="94"/>
                  </a:lnTo>
                  <a:lnTo>
                    <a:pt x="80" y="88"/>
                  </a:lnTo>
                  <a:lnTo>
                    <a:pt x="84" y="82"/>
                  </a:lnTo>
                  <a:lnTo>
                    <a:pt x="86" y="7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6" y="44"/>
                  </a:lnTo>
                  <a:lnTo>
                    <a:pt x="82" y="36"/>
                  </a:lnTo>
                  <a:lnTo>
                    <a:pt x="80" y="30"/>
                  </a:lnTo>
                  <a:lnTo>
                    <a:pt x="74" y="24"/>
                  </a:lnTo>
                  <a:lnTo>
                    <a:pt x="68" y="20"/>
                  </a:lnTo>
                  <a:lnTo>
                    <a:pt x="62" y="18"/>
                  </a:lnTo>
                  <a:lnTo>
                    <a:pt x="52" y="16"/>
                  </a:lnTo>
                  <a:lnTo>
                    <a:pt x="5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6" name="Freeform 114"/>
            <p:cNvSpPr>
              <a:spLocks noEditPoints="1"/>
            </p:cNvSpPr>
            <p:nvPr/>
          </p:nvSpPr>
          <p:spPr bwMode="auto">
            <a:xfrm>
              <a:off x="6294154" y="4493795"/>
              <a:ext cx="213222" cy="2419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4 w 104"/>
                <a:gd name="T5" fmla="*/ 108 h 118"/>
                <a:gd name="T6" fmla="*/ 70 w 104"/>
                <a:gd name="T7" fmla="*/ 116 h 118"/>
                <a:gd name="T8" fmla="*/ 54 w 104"/>
                <a:gd name="T9" fmla="*/ 118 h 118"/>
                <a:gd name="T10" fmla="*/ 40 w 104"/>
                <a:gd name="T11" fmla="*/ 118 h 118"/>
                <a:gd name="T12" fmla="*/ 20 w 104"/>
                <a:gd name="T13" fmla="*/ 108 h 118"/>
                <a:gd name="T14" fmla="*/ 8 w 104"/>
                <a:gd name="T15" fmla="*/ 94 h 118"/>
                <a:gd name="T16" fmla="*/ 0 w 104"/>
                <a:gd name="T17" fmla="*/ 72 h 118"/>
                <a:gd name="T18" fmla="*/ 0 w 104"/>
                <a:gd name="T19" fmla="*/ 60 h 118"/>
                <a:gd name="T20" fmla="*/ 2 w 104"/>
                <a:gd name="T21" fmla="*/ 36 h 118"/>
                <a:gd name="T22" fmla="*/ 14 w 104"/>
                <a:gd name="T23" fmla="*/ 18 h 118"/>
                <a:gd name="T24" fmla="*/ 30 w 104"/>
                <a:gd name="T25" fmla="*/ 4 h 118"/>
                <a:gd name="T26" fmla="*/ 52 w 104"/>
                <a:gd name="T27" fmla="*/ 0 h 118"/>
                <a:gd name="T28" fmla="*/ 66 w 104"/>
                <a:gd name="T29" fmla="*/ 2 h 118"/>
                <a:gd name="T30" fmla="*/ 86 w 104"/>
                <a:gd name="T31" fmla="*/ 14 h 118"/>
                <a:gd name="T32" fmla="*/ 98 w 104"/>
                <a:gd name="T33" fmla="*/ 32 h 118"/>
                <a:gd name="T34" fmla="*/ 102 w 104"/>
                <a:gd name="T35" fmla="*/ 54 h 118"/>
                <a:gd name="T36" fmla="*/ 18 w 104"/>
                <a:gd name="T37" fmla="*/ 66 h 118"/>
                <a:gd name="T38" fmla="*/ 20 w 104"/>
                <a:gd name="T39" fmla="*/ 80 h 118"/>
                <a:gd name="T40" fmla="*/ 26 w 104"/>
                <a:gd name="T41" fmla="*/ 90 h 118"/>
                <a:gd name="T42" fmla="*/ 38 w 104"/>
                <a:gd name="T43" fmla="*/ 100 h 118"/>
                <a:gd name="T44" fmla="*/ 54 w 104"/>
                <a:gd name="T45" fmla="*/ 102 h 118"/>
                <a:gd name="T46" fmla="*/ 64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0 w 104"/>
                <a:gd name="T59" fmla="*/ 16 h 118"/>
                <a:gd name="T60" fmla="*/ 44 w 104"/>
                <a:gd name="T61" fmla="*/ 18 h 118"/>
                <a:gd name="T62" fmla="*/ 32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98" y="88"/>
                  </a:lnTo>
                  <a:lnTo>
                    <a:pt x="96" y="96"/>
                  </a:lnTo>
                  <a:lnTo>
                    <a:pt x="90" y="104"/>
                  </a:lnTo>
                  <a:lnTo>
                    <a:pt x="84" y="108"/>
                  </a:lnTo>
                  <a:lnTo>
                    <a:pt x="78" y="112"/>
                  </a:lnTo>
                  <a:lnTo>
                    <a:pt x="70" y="116"/>
                  </a:lnTo>
                  <a:lnTo>
                    <a:pt x="62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0" y="118"/>
                  </a:lnTo>
                  <a:lnTo>
                    <a:pt x="30" y="114"/>
                  </a:lnTo>
                  <a:lnTo>
                    <a:pt x="20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2" y="82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46"/>
                  </a:lnTo>
                  <a:lnTo>
                    <a:pt x="2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0" y="4"/>
                  </a:lnTo>
                  <a:lnTo>
                    <a:pt x="40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6" y="14"/>
                  </a:lnTo>
                  <a:lnTo>
                    <a:pt x="92" y="22"/>
                  </a:lnTo>
                  <a:lnTo>
                    <a:pt x="98" y="32"/>
                  </a:lnTo>
                  <a:lnTo>
                    <a:pt x="102" y="44"/>
                  </a:lnTo>
                  <a:lnTo>
                    <a:pt x="102" y="54"/>
                  </a:lnTo>
                  <a:lnTo>
                    <a:pt x="104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20" y="80"/>
                  </a:lnTo>
                  <a:lnTo>
                    <a:pt x="22" y="86"/>
                  </a:lnTo>
                  <a:lnTo>
                    <a:pt x="26" y="90"/>
                  </a:lnTo>
                  <a:lnTo>
                    <a:pt x="32" y="96"/>
                  </a:lnTo>
                  <a:lnTo>
                    <a:pt x="38" y="100"/>
                  </a:lnTo>
                  <a:lnTo>
                    <a:pt x="46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4" y="100"/>
                  </a:lnTo>
                  <a:lnTo>
                    <a:pt x="72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0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2" y="22"/>
                  </a:lnTo>
                  <a:lnTo>
                    <a:pt x="28" y="26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7" name="Freeform 115"/>
            <p:cNvSpPr>
              <a:spLocks/>
            </p:cNvSpPr>
            <p:nvPr/>
          </p:nvSpPr>
          <p:spPr bwMode="auto">
            <a:xfrm>
              <a:off x="6519676" y="4432289"/>
              <a:ext cx="123013" cy="299330"/>
            </a:xfrm>
            <a:custGeom>
              <a:avLst/>
              <a:gdLst>
                <a:gd name="T0" fmla="*/ 38 w 60"/>
                <a:gd name="T1" fmla="*/ 34 h 146"/>
                <a:gd name="T2" fmla="*/ 60 w 60"/>
                <a:gd name="T3" fmla="*/ 34 h 146"/>
                <a:gd name="T4" fmla="*/ 60 w 60"/>
                <a:gd name="T5" fmla="*/ 50 h 146"/>
                <a:gd name="T6" fmla="*/ 38 w 60"/>
                <a:gd name="T7" fmla="*/ 50 h 146"/>
                <a:gd name="T8" fmla="*/ 38 w 60"/>
                <a:gd name="T9" fmla="*/ 120 h 146"/>
                <a:gd name="T10" fmla="*/ 38 w 60"/>
                <a:gd name="T11" fmla="*/ 120 h 146"/>
                <a:gd name="T12" fmla="*/ 38 w 60"/>
                <a:gd name="T13" fmla="*/ 124 h 146"/>
                <a:gd name="T14" fmla="*/ 40 w 60"/>
                <a:gd name="T15" fmla="*/ 128 h 146"/>
                <a:gd name="T16" fmla="*/ 44 w 60"/>
                <a:gd name="T17" fmla="*/ 130 h 146"/>
                <a:gd name="T18" fmla="*/ 52 w 60"/>
                <a:gd name="T19" fmla="*/ 130 h 146"/>
                <a:gd name="T20" fmla="*/ 60 w 60"/>
                <a:gd name="T21" fmla="*/ 130 h 146"/>
                <a:gd name="T22" fmla="*/ 60 w 60"/>
                <a:gd name="T23" fmla="*/ 146 h 146"/>
                <a:gd name="T24" fmla="*/ 46 w 60"/>
                <a:gd name="T25" fmla="*/ 146 h 146"/>
                <a:gd name="T26" fmla="*/ 46 w 60"/>
                <a:gd name="T27" fmla="*/ 146 h 146"/>
                <a:gd name="T28" fmla="*/ 34 w 60"/>
                <a:gd name="T29" fmla="*/ 144 h 146"/>
                <a:gd name="T30" fmla="*/ 26 w 60"/>
                <a:gd name="T31" fmla="*/ 142 h 146"/>
                <a:gd name="T32" fmla="*/ 22 w 60"/>
                <a:gd name="T33" fmla="*/ 138 h 146"/>
                <a:gd name="T34" fmla="*/ 22 w 60"/>
                <a:gd name="T35" fmla="*/ 134 h 146"/>
                <a:gd name="T36" fmla="*/ 20 w 60"/>
                <a:gd name="T37" fmla="*/ 122 h 146"/>
                <a:gd name="T38" fmla="*/ 20 w 60"/>
                <a:gd name="T39" fmla="*/ 50 h 146"/>
                <a:gd name="T40" fmla="*/ 0 w 60"/>
                <a:gd name="T41" fmla="*/ 50 h 146"/>
                <a:gd name="T42" fmla="*/ 0 w 60"/>
                <a:gd name="T43" fmla="*/ 34 h 146"/>
                <a:gd name="T44" fmla="*/ 20 w 60"/>
                <a:gd name="T45" fmla="*/ 34 h 146"/>
                <a:gd name="T46" fmla="*/ 20 w 60"/>
                <a:gd name="T47" fmla="*/ 0 h 146"/>
                <a:gd name="T48" fmla="*/ 38 w 60"/>
                <a:gd name="T49" fmla="*/ 0 h 146"/>
                <a:gd name="T50" fmla="*/ 38 w 60"/>
                <a:gd name="T51" fmla="*/ 3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46">
                  <a:moveTo>
                    <a:pt x="38" y="34"/>
                  </a:moveTo>
                  <a:lnTo>
                    <a:pt x="60" y="34"/>
                  </a:lnTo>
                  <a:lnTo>
                    <a:pt x="60" y="50"/>
                  </a:lnTo>
                  <a:lnTo>
                    <a:pt x="38" y="5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40" y="128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60" y="130"/>
                  </a:lnTo>
                  <a:lnTo>
                    <a:pt x="60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34" y="144"/>
                  </a:lnTo>
                  <a:lnTo>
                    <a:pt x="26" y="142"/>
                  </a:lnTo>
                  <a:lnTo>
                    <a:pt x="22" y="138"/>
                  </a:lnTo>
                  <a:lnTo>
                    <a:pt x="22" y="134"/>
                  </a:lnTo>
                  <a:lnTo>
                    <a:pt x="20" y="122"/>
                  </a:lnTo>
                  <a:lnTo>
                    <a:pt x="20" y="50"/>
                  </a:lnTo>
                  <a:lnTo>
                    <a:pt x="0" y="50"/>
                  </a:lnTo>
                  <a:lnTo>
                    <a:pt x="0" y="34"/>
                  </a:lnTo>
                  <a:lnTo>
                    <a:pt x="20" y="34"/>
                  </a:lnTo>
                  <a:lnTo>
                    <a:pt x="20" y="0"/>
                  </a:lnTo>
                  <a:lnTo>
                    <a:pt x="38" y="0"/>
                  </a:lnTo>
                  <a:lnTo>
                    <a:pt x="38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8" name="Freeform 116"/>
            <p:cNvSpPr>
              <a:spLocks noEditPoints="1"/>
            </p:cNvSpPr>
            <p:nvPr/>
          </p:nvSpPr>
          <p:spPr bwMode="auto">
            <a:xfrm>
              <a:off x="6687794" y="4411785"/>
              <a:ext cx="36904" cy="319832"/>
            </a:xfrm>
            <a:custGeom>
              <a:avLst/>
              <a:gdLst>
                <a:gd name="T0" fmla="*/ 18 w 18"/>
                <a:gd name="T1" fmla="*/ 22 h 156"/>
                <a:gd name="T2" fmla="*/ 0 w 18"/>
                <a:gd name="T3" fmla="*/ 22 h 156"/>
                <a:gd name="T4" fmla="*/ 0 w 18"/>
                <a:gd name="T5" fmla="*/ 0 h 156"/>
                <a:gd name="T6" fmla="*/ 18 w 18"/>
                <a:gd name="T7" fmla="*/ 0 h 156"/>
                <a:gd name="T8" fmla="*/ 18 w 18"/>
                <a:gd name="T9" fmla="*/ 22 h 156"/>
                <a:gd name="T10" fmla="*/ 0 w 18"/>
                <a:gd name="T11" fmla="*/ 44 h 156"/>
                <a:gd name="T12" fmla="*/ 18 w 18"/>
                <a:gd name="T13" fmla="*/ 44 h 156"/>
                <a:gd name="T14" fmla="*/ 18 w 18"/>
                <a:gd name="T15" fmla="*/ 156 h 156"/>
                <a:gd name="T16" fmla="*/ 0 w 18"/>
                <a:gd name="T17" fmla="*/ 156 h 156"/>
                <a:gd name="T18" fmla="*/ 0 w 18"/>
                <a:gd name="T19" fmla="*/ 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6">
                  <a:moveTo>
                    <a:pt x="18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22"/>
                  </a:lnTo>
                  <a:close/>
                  <a:moveTo>
                    <a:pt x="0" y="44"/>
                  </a:moveTo>
                  <a:lnTo>
                    <a:pt x="18" y="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99" name="Freeform 117"/>
            <p:cNvSpPr>
              <a:spLocks/>
            </p:cNvSpPr>
            <p:nvPr/>
          </p:nvSpPr>
          <p:spPr bwMode="auto">
            <a:xfrm>
              <a:off x="6761601" y="4432289"/>
              <a:ext cx="123013" cy="299330"/>
            </a:xfrm>
            <a:custGeom>
              <a:avLst/>
              <a:gdLst>
                <a:gd name="T0" fmla="*/ 38 w 60"/>
                <a:gd name="T1" fmla="*/ 34 h 146"/>
                <a:gd name="T2" fmla="*/ 60 w 60"/>
                <a:gd name="T3" fmla="*/ 34 h 146"/>
                <a:gd name="T4" fmla="*/ 60 w 60"/>
                <a:gd name="T5" fmla="*/ 50 h 146"/>
                <a:gd name="T6" fmla="*/ 38 w 60"/>
                <a:gd name="T7" fmla="*/ 50 h 146"/>
                <a:gd name="T8" fmla="*/ 38 w 60"/>
                <a:gd name="T9" fmla="*/ 120 h 146"/>
                <a:gd name="T10" fmla="*/ 38 w 60"/>
                <a:gd name="T11" fmla="*/ 120 h 146"/>
                <a:gd name="T12" fmla="*/ 38 w 60"/>
                <a:gd name="T13" fmla="*/ 124 h 146"/>
                <a:gd name="T14" fmla="*/ 40 w 60"/>
                <a:gd name="T15" fmla="*/ 128 h 146"/>
                <a:gd name="T16" fmla="*/ 44 w 60"/>
                <a:gd name="T17" fmla="*/ 130 h 146"/>
                <a:gd name="T18" fmla="*/ 52 w 60"/>
                <a:gd name="T19" fmla="*/ 130 h 146"/>
                <a:gd name="T20" fmla="*/ 60 w 60"/>
                <a:gd name="T21" fmla="*/ 130 h 146"/>
                <a:gd name="T22" fmla="*/ 60 w 60"/>
                <a:gd name="T23" fmla="*/ 146 h 146"/>
                <a:gd name="T24" fmla="*/ 46 w 60"/>
                <a:gd name="T25" fmla="*/ 146 h 146"/>
                <a:gd name="T26" fmla="*/ 46 w 60"/>
                <a:gd name="T27" fmla="*/ 146 h 146"/>
                <a:gd name="T28" fmla="*/ 34 w 60"/>
                <a:gd name="T29" fmla="*/ 144 h 146"/>
                <a:gd name="T30" fmla="*/ 24 w 60"/>
                <a:gd name="T31" fmla="*/ 142 h 146"/>
                <a:gd name="T32" fmla="*/ 22 w 60"/>
                <a:gd name="T33" fmla="*/ 138 h 146"/>
                <a:gd name="T34" fmla="*/ 20 w 60"/>
                <a:gd name="T35" fmla="*/ 134 h 146"/>
                <a:gd name="T36" fmla="*/ 18 w 60"/>
                <a:gd name="T37" fmla="*/ 122 h 146"/>
                <a:gd name="T38" fmla="*/ 18 w 60"/>
                <a:gd name="T39" fmla="*/ 50 h 146"/>
                <a:gd name="T40" fmla="*/ 0 w 60"/>
                <a:gd name="T41" fmla="*/ 50 h 146"/>
                <a:gd name="T42" fmla="*/ 0 w 60"/>
                <a:gd name="T43" fmla="*/ 34 h 146"/>
                <a:gd name="T44" fmla="*/ 18 w 60"/>
                <a:gd name="T45" fmla="*/ 34 h 146"/>
                <a:gd name="T46" fmla="*/ 18 w 60"/>
                <a:gd name="T47" fmla="*/ 0 h 146"/>
                <a:gd name="T48" fmla="*/ 38 w 60"/>
                <a:gd name="T49" fmla="*/ 0 h 146"/>
                <a:gd name="T50" fmla="*/ 38 w 60"/>
                <a:gd name="T51" fmla="*/ 3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146">
                  <a:moveTo>
                    <a:pt x="38" y="34"/>
                  </a:moveTo>
                  <a:lnTo>
                    <a:pt x="60" y="34"/>
                  </a:lnTo>
                  <a:lnTo>
                    <a:pt x="60" y="50"/>
                  </a:lnTo>
                  <a:lnTo>
                    <a:pt x="38" y="5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40" y="128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60" y="130"/>
                  </a:lnTo>
                  <a:lnTo>
                    <a:pt x="60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34" y="144"/>
                  </a:lnTo>
                  <a:lnTo>
                    <a:pt x="24" y="142"/>
                  </a:lnTo>
                  <a:lnTo>
                    <a:pt x="22" y="138"/>
                  </a:lnTo>
                  <a:lnTo>
                    <a:pt x="20" y="134"/>
                  </a:lnTo>
                  <a:lnTo>
                    <a:pt x="18" y="122"/>
                  </a:lnTo>
                  <a:lnTo>
                    <a:pt x="18" y="50"/>
                  </a:lnTo>
                  <a:lnTo>
                    <a:pt x="0" y="50"/>
                  </a:lnTo>
                  <a:lnTo>
                    <a:pt x="0" y="34"/>
                  </a:lnTo>
                  <a:lnTo>
                    <a:pt x="18" y="34"/>
                  </a:lnTo>
                  <a:lnTo>
                    <a:pt x="18" y="0"/>
                  </a:lnTo>
                  <a:lnTo>
                    <a:pt x="38" y="0"/>
                  </a:lnTo>
                  <a:lnTo>
                    <a:pt x="38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0" name="Freeform 118"/>
            <p:cNvSpPr>
              <a:spLocks noEditPoints="1"/>
            </p:cNvSpPr>
            <p:nvPr/>
          </p:nvSpPr>
          <p:spPr bwMode="auto">
            <a:xfrm>
              <a:off x="6929719" y="4411785"/>
              <a:ext cx="36904" cy="319832"/>
            </a:xfrm>
            <a:custGeom>
              <a:avLst/>
              <a:gdLst>
                <a:gd name="T0" fmla="*/ 18 w 18"/>
                <a:gd name="T1" fmla="*/ 22 h 156"/>
                <a:gd name="T2" fmla="*/ 0 w 18"/>
                <a:gd name="T3" fmla="*/ 22 h 156"/>
                <a:gd name="T4" fmla="*/ 0 w 18"/>
                <a:gd name="T5" fmla="*/ 0 h 156"/>
                <a:gd name="T6" fmla="*/ 18 w 18"/>
                <a:gd name="T7" fmla="*/ 0 h 156"/>
                <a:gd name="T8" fmla="*/ 18 w 18"/>
                <a:gd name="T9" fmla="*/ 22 h 156"/>
                <a:gd name="T10" fmla="*/ 0 w 18"/>
                <a:gd name="T11" fmla="*/ 44 h 156"/>
                <a:gd name="T12" fmla="*/ 18 w 18"/>
                <a:gd name="T13" fmla="*/ 44 h 156"/>
                <a:gd name="T14" fmla="*/ 18 w 18"/>
                <a:gd name="T15" fmla="*/ 156 h 156"/>
                <a:gd name="T16" fmla="*/ 0 w 18"/>
                <a:gd name="T17" fmla="*/ 156 h 156"/>
                <a:gd name="T18" fmla="*/ 0 w 18"/>
                <a:gd name="T19" fmla="*/ 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6">
                  <a:moveTo>
                    <a:pt x="18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22"/>
                  </a:lnTo>
                  <a:close/>
                  <a:moveTo>
                    <a:pt x="0" y="44"/>
                  </a:moveTo>
                  <a:lnTo>
                    <a:pt x="18" y="44"/>
                  </a:lnTo>
                  <a:lnTo>
                    <a:pt x="18" y="156"/>
                  </a:lnTo>
                  <a:lnTo>
                    <a:pt x="0" y="156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1" name="Freeform 119"/>
            <p:cNvSpPr>
              <a:spLocks/>
            </p:cNvSpPr>
            <p:nvPr/>
          </p:nvSpPr>
          <p:spPr bwMode="auto">
            <a:xfrm>
              <a:off x="7003527" y="4501996"/>
              <a:ext cx="209121" cy="229623"/>
            </a:xfrm>
            <a:custGeom>
              <a:avLst/>
              <a:gdLst>
                <a:gd name="T0" fmla="*/ 62 w 102"/>
                <a:gd name="T1" fmla="*/ 112 h 112"/>
                <a:gd name="T2" fmla="*/ 42 w 102"/>
                <a:gd name="T3" fmla="*/ 112 h 112"/>
                <a:gd name="T4" fmla="*/ 0 w 102"/>
                <a:gd name="T5" fmla="*/ 0 h 112"/>
                <a:gd name="T6" fmla="*/ 20 w 102"/>
                <a:gd name="T7" fmla="*/ 0 h 112"/>
                <a:gd name="T8" fmla="*/ 52 w 102"/>
                <a:gd name="T9" fmla="*/ 94 h 112"/>
                <a:gd name="T10" fmla="*/ 52 w 102"/>
                <a:gd name="T11" fmla="*/ 94 h 112"/>
                <a:gd name="T12" fmla="*/ 84 w 102"/>
                <a:gd name="T13" fmla="*/ 0 h 112"/>
                <a:gd name="T14" fmla="*/ 102 w 102"/>
                <a:gd name="T15" fmla="*/ 0 h 112"/>
                <a:gd name="T16" fmla="*/ 62 w 102"/>
                <a:gd name="T17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12">
                  <a:moveTo>
                    <a:pt x="62" y="112"/>
                  </a:moveTo>
                  <a:lnTo>
                    <a:pt x="42" y="112"/>
                  </a:lnTo>
                  <a:lnTo>
                    <a:pt x="0" y="0"/>
                  </a:lnTo>
                  <a:lnTo>
                    <a:pt x="20" y="0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84" y="0"/>
                  </a:lnTo>
                  <a:lnTo>
                    <a:pt x="102" y="0"/>
                  </a:lnTo>
                  <a:lnTo>
                    <a:pt x="6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2" name="Freeform 120"/>
            <p:cNvSpPr>
              <a:spLocks noEditPoints="1"/>
            </p:cNvSpPr>
            <p:nvPr/>
          </p:nvSpPr>
          <p:spPr bwMode="auto">
            <a:xfrm>
              <a:off x="7237250" y="4493795"/>
              <a:ext cx="213222" cy="2419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6 w 104"/>
                <a:gd name="T5" fmla="*/ 108 h 118"/>
                <a:gd name="T6" fmla="*/ 72 w 104"/>
                <a:gd name="T7" fmla="*/ 116 h 118"/>
                <a:gd name="T8" fmla="*/ 54 w 104"/>
                <a:gd name="T9" fmla="*/ 118 h 118"/>
                <a:gd name="T10" fmla="*/ 42 w 104"/>
                <a:gd name="T11" fmla="*/ 118 h 118"/>
                <a:gd name="T12" fmla="*/ 22 w 104"/>
                <a:gd name="T13" fmla="*/ 108 h 118"/>
                <a:gd name="T14" fmla="*/ 8 w 104"/>
                <a:gd name="T15" fmla="*/ 94 h 118"/>
                <a:gd name="T16" fmla="*/ 0 w 104"/>
                <a:gd name="T17" fmla="*/ 72 h 118"/>
                <a:gd name="T18" fmla="*/ 0 w 104"/>
                <a:gd name="T19" fmla="*/ 60 h 118"/>
                <a:gd name="T20" fmla="*/ 4 w 104"/>
                <a:gd name="T21" fmla="*/ 36 h 118"/>
                <a:gd name="T22" fmla="*/ 14 w 104"/>
                <a:gd name="T23" fmla="*/ 18 h 118"/>
                <a:gd name="T24" fmla="*/ 32 w 104"/>
                <a:gd name="T25" fmla="*/ 4 h 118"/>
                <a:gd name="T26" fmla="*/ 52 w 104"/>
                <a:gd name="T27" fmla="*/ 0 h 118"/>
                <a:gd name="T28" fmla="*/ 66 w 104"/>
                <a:gd name="T29" fmla="*/ 2 h 118"/>
                <a:gd name="T30" fmla="*/ 86 w 104"/>
                <a:gd name="T31" fmla="*/ 14 h 118"/>
                <a:gd name="T32" fmla="*/ 98 w 104"/>
                <a:gd name="T33" fmla="*/ 32 h 118"/>
                <a:gd name="T34" fmla="*/ 104 w 104"/>
                <a:gd name="T35" fmla="*/ 54 h 118"/>
                <a:gd name="T36" fmla="*/ 20 w 104"/>
                <a:gd name="T37" fmla="*/ 66 h 118"/>
                <a:gd name="T38" fmla="*/ 22 w 104"/>
                <a:gd name="T39" fmla="*/ 80 h 118"/>
                <a:gd name="T40" fmla="*/ 28 w 104"/>
                <a:gd name="T41" fmla="*/ 90 h 118"/>
                <a:gd name="T42" fmla="*/ 38 w 104"/>
                <a:gd name="T43" fmla="*/ 100 h 118"/>
                <a:gd name="T44" fmla="*/ 54 w 104"/>
                <a:gd name="T45" fmla="*/ 102 h 118"/>
                <a:gd name="T46" fmla="*/ 66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2 w 104"/>
                <a:gd name="T59" fmla="*/ 16 h 118"/>
                <a:gd name="T60" fmla="*/ 44 w 104"/>
                <a:gd name="T61" fmla="*/ 18 h 118"/>
                <a:gd name="T62" fmla="*/ 34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100" y="88"/>
                  </a:lnTo>
                  <a:lnTo>
                    <a:pt x="96" y="96"/>
                  </a:lnTo>
                  <a:lnTo>
                    <a:pt x="92" y="104"/>
                  </a:lnTo>
                  <a:lnTo>
                    <a:pt x="86" y="108"/>
                  </a:lnTo>
                  <a:lnTo>
                    <a:pt x="78" y="112"/>
                  </a:lnTo>
                  <a:lnTo>
                    <a:pt x="72" y="116"/>
                  </a:lnTo>
                  <a:lnTo>
                    <a:pt x="62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0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4" y="82"/>
                  </a:lnTo>
                  <a:lnTo>
                    <a:pt x="0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46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4" y="18"/>
                  </a:lnTo>
                  <a:lnTo>
                    <a:pt x="22" y="10"/>
                  </a:lnTo>
                  <a:lnTo>
                    <a:pt x="32" y="4"/>
                  </a:lnTo>
                  <a:lnTo>
                    <a:pt x="42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6" y="14"/>
                  </a:lnTo>
                  <a:lnTo>
                    <a:pt x="94" y="22"/>
                  </a:lnTo>
                  <a:lnTo>
                    <a:pt x="98" y="32"/>
                  </a:lnTo>
                  <a:lnTo>
                    <a:pt x="102" y="44"/>
                  </a:lnTo>
                  <a:lnTo>
                    <a:pt x="104" y="54"/>
                  </a:lnTo>
                  <a:lnTo>
                    <a:pt x="104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80"/>
                  </a:lnTo>
                  <a:lnTo>
                    <a:pt x="24" y="86"/>
                  </a:lnTo>
                  <a:lnTo>
                    <a:pt x="28" y="90"/>
                  </a:lnTo>
                  <a:lnTo>
                    <a:pt x="32" y="96"/>
                  </a:lnTo>
                  <a:lnTo>
                    <a:pt x="38" y="100"/>
                  </a:lnTo>
                  <a:lnTo>
                    <a:pt x="46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66" y="100"/>
                  </a:lnTo>
                  <a:lnTo>
                    <a:pt x="74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2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4" y="18"/>
                  </a:lnTo>
                  <a:lnTo>
                    <a:pt x="38" y="20"/>
                  </a:lnTo>
                  <a:lnTo>
                    <a:pt x="34" y="22"/>
                  </a:lnTo>
                  <a:lnTo>
                    <a:pt x="28" y="26"/>
                  </a:lnTo>
                  <a:lnTo>
                    <a:pt x="22" y="36"/>
                  </a:lnTo>
                  <a:lnTo>
                    <a:pt x="20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3" name="Freeform 121"/>
            <p:cNvSpPr>
              <a:spLocks/>
            </p:cNvSpPr>
            <p:nvPr/>
          </p:nvSpPr>
          <p:spPr bwMode="auto">
            <a:xfrm>
              <a:off x="7491476" y="4493795"/>
              <a:ext cx="188619" cy="237824"/>
            </a:xfrm>
            <a:custGeom>
              <a:avLst/>
              <a:gdLst>
                <a:gd name="T0" fmla="*/ 0 w 92"/>
                <a:gd name="T1" fmla="*/ 4 h 116"/>
                <a:gd name="T2" fmla="*/ 16 w 92"/>
                <a:gd name="T3" fmla="*/ 4 h 116"/>
                <a:gd name="T4" fmla="*/ 16 w 92"/>
                <a:gd name="T5" fmla="*/ 20 h 116"/>
                <a:gd name="T6" fmla="*/ 16 w 92"/>
                <a:gd name="T7" fmla="*/ 20 h 116"/>
                <a:gd name="T8" fmla="*/ 16 w 92"/>
                <a:gd name="T9" fmla="*/ 20 h 116"/>
                <a:gd name="T10" fmla="*/ 24 w 92"/>
                <a:gd name="T11" fmla="*/ 12 h 116"/>
                <a:gd name="T12" fmla="*/ 32 w 92"/>
                <a:gd name="T13" fmla="*/ 6 h 116"/>
                <a:gd name="T14" fmla="*/ 42 w 92"/>
                <a:gd name="T15" fmla="*/ 2 h 116"/>
                <a:gd name="T16" fmla="*/ 54 w 92"/>
                <a:gd name="T17" fmla="*/ 0 h 116"/>
                <a:gd name="T18" fmla="*/ 54 w 92"/>
                <a:gd name="T19" fmla="*/ 0 h 116"/>
                <a:gd name="T20" fmla="*/ 64 w 92"/>
                <a:gd name="T21" fmla="*/ 2 h 116"/>
                <a:gd name="T22" fmla="*/ 72 w 92"/>
                <a:gd name="T23" fmla="*/ 4 h 116"/>
                <a:gd name="T24" fmla="*/ 78 w 92"/>
                <a:gd name="T25" fmla="*/ 8 h 116"/>
                <a:gd name="T26" fmla="*/ 84 w 92"/>
                <a:gd name="T27" fmla="*/ 12 h 116"/>
                <a:gd name="T28" fmla="*/ 88 w 92"/>
                <a:gd name="T29" fmla="*/ 18 h 116"/>
                <a:gd name="T30" fmla="*/ 90 w 92"/>
                <a:gd name="T31" fmla="*/ 26 h 116"/>
                <a:gd name="T32" fmla="*/ 92 w 92"/>
                <a:gd name="T33" fmla="*/ 42 h 116"/>
                <a:gd name="T34" fmla="*/ 92 w 92"/>
                <a:gd name="T35" fmla="*/ 116 h 116"/>
                <a:gd name="T36" fmla="*/ 74 w 92"/>
                <a:gd name="T37" fmla="*/ 116 h 116"/>
                <a:gd name="T38" fmla="*/ 74 w 92"/>
                <a:gd name="T39" fmla="*/ 40 h 116"/>
                <a:gd name="T40" fmla="*/ 74 w 92"/>
                <a:gd name="T41" fmla="*/ 40 h 116"/>
                <a:gd name="T42" fmla="*/ 72 w 92"/>
                <a:gd name="T43" fmla="*/ 30 h 116"/>
                <a:gd name="T44" fmla="*/ 68 w 92"/>
                <a:gd name="T45" fmla="*/ 22 h 116"/>
                <a:gd name="T46" fmla="*/ 60 w 92"/>
                <a:gd name="T47" fmla="*/ 18 h 116"/>
                <a:gd name="T48" fmla="*/ 50 w 92"/>
                <a:gd name="T49" fmla="*/ 16 h 116"/>
                <a:gd name="T50" fmla="*/ 50 w 92"/>
                <a:gd name="T51" fmla="*/ 16 h 116"/>
                <a:gd name="T52" fmla="*/ 44 w 92"/>
                <a:gd name="T53" fmla="*/ 18 h 116"/>
                <a:gd name="T54" fmla="*/ 36 w 92"/>
                <a:gd name="T55" fmla="*/ 20 h 116"/>
                <a:gd name="T56" fmla="*/ 30 w 92"/>
                <a:gd name="T57" fmla="*/ 22 h 116"/>
                <a:gd name="T58" fmla="*/ 26 w 92"/>
                <a:gd name="T59" fmla="*/ 26 h 116"/>
                <a:gd name="T60" fmla="*/ 22 w 92"/>
                <a:gd name="T61" fmla="*/ 32 h 116"/>
                <a:gd name="T62" fmla="*/ 20 w 92"/>
                <a:gd name="T63" fmla="*/ 38 h 116"/>
                <a:gd name="T64" fmla="*/ 18 w 92"/>
                <a:gd name="T65" fmla="*/ 52 h 116"/>
                <a:gd name="T66" fmla="*/ 18 w 92"/>
                <a:gd name="T67" fmla="*/ 116 h 116"/>
                <a:gd name="T68" fmla="*/ 0 w 92"/>
                <a:gd name="T69" fmla="*/ 116 h 116"/>
                <a:gd name="T70" fmla="*/ 0 w 92"/>
                <a:gd name="T71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116">
                  <a:moveTo>
                    <a:pt x="0" y="4"/>
                  </a:moveTo>
                  <a:lnTo>
                    <a:pt x="16" y="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4" y="12"/>
                  </a:lnTo>
                  <a:lnTo>
                    <a:pt x="32" y="6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2"/>
                  </a:lnTo>
                  <a:lnTo>
                    <a:pt x="72" y="4"/>
                  </a:lnTo>
                  <a:lnTo>
                    <a:pt x="78" y="8"/>
                  </a:lnTo>
                  <a:lnTo>
                    <a:pt x="84" y="12"/>
                  </a:lnTo>
                  <a:lnTo>
                    <a:pt x="88" y="18"/>
                  </a:lnTo>
                  <a:lnTo>
                    <a:pt x="90" y="26"/>
                  </a:lnTo>
                  <a:lnTo>
                    <a:pt x="92" y="42"/>
                  </a:lnTo>
                  <a:lnTo>
                    <a:pt x="92" y="116"/>
                  </a:lnTo>
                  <a:lnTo>
                    <a:pt x="74" y="116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2" y="30"/>
                  </a:lnTo>
                  <a:lnTo>
                    <a:pt x="68" y="22"/>
                  </a:lnTo>
                  <a:lnTo>
                    <a:pt x="6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30" y="22"/>
                  </a:lnTo>
                  <a:lnTo>
                    <a:pt x="26" y="26"/>
                  </a:lnTo>
                  <a:lnTo>
                    <a:pt x="22" y="32"/>
                  </a:lnTo>
                  <a:lnTo>
                    <a:pt x="20" y="38"/>
                  </a:lnTo>
                  <a:lnTo>
                    <a:pt x="18" y="52"/>
                  </a:lnTo>
                  <a:lnTo>
                    <a:pt x="18" y="116"/>
                  </a:lnTo>
                  <a:lnTo>
                    <a:pt x="0" y="11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4" name="Freeform 122"/>
            <p:cNvSpPr>
              <a:spLocks noEditPoints="1"/>
            </p:cNvSpPr>
            <p:nvPr/>
          </p:nvSpPr>
          <p:spPr bwMode="auto">
            <a:xfrm>
              <a:off x="7725200" y="4493795"/>
              <a:ext cx="213222" cy="241925"/>
            </a:xfrm>
            <a:custGeom>
              <a:avLst/>
              <a:gdLst>
                <a:gd name="T0" fmla="*/ 102 w 104"/>
                <a:gd name="T1" fmla="*/ 80 h 118"/>
                <a:gd name="T2" fmla="*/ 96 w 104"/>
                <a:gd name="T3" fmla="*/ 96 h 118"/>
                <a:gd name="T4" fmla="*/ 86 w 104"/>
                <a:gd name="T5" fmla="*/ 108 h 118"/>
                <a:gd name="T6" fmla="*/ 72 w 104"/>
                <a:gd name="T7" fmla="*/ 116 h 118"/>
                <a:gd name="T8" fmla="*/ 54 w 104"/>
                <a:gd name="T9" fmla="*/ 118 h 118"/>
                <a:gd name="T10" fmla="*/ 42 w 104"/>
                <a:gd name="T11" fmla="*/ 118 h 118"/>
                <a:gd name="T12" fmla="*/ 22 w 104"/>
                <a:gd name="T13" fmla="*/ 108 h 118"/>
                <a:gd name="T14" fmla="*/ 8 w 104"/>
                <a:gd name="T15" fmla="*/ 94 h 118"/>
                <a:gd name="T16" fmla="*/ 2 w 104"/>
                <a:gd name="T17" fmla="*/ 72 h 118"/>
                <a:gd name="T18" fmla="*/ 0 w 104"/>
                <a:gd name="T19" fmla="*/ 60 h 118"/>
                <a:gd name="T20" fmla="*/ 4 w 104"/>
                <a:gd name="T21" fmla="*/ 36 h 118"/>
                <a:gd name="T22" fmla="*/ 16 w 104"/>
                <a:gd name="T23" fmla="*/ 18 h 118"/>
                <a:gd name="T24" fmla="*/ 32 w 104"/>
                <a:gd name="T25" fmla="*/ 4 h 118"/>
                <a:gd name="T26" fmla="*/ 54 w 104"/>
                <a:gd name="T27" fmla="*/ 0 h 118"/>
                <a:gd name="T28" fmla="*/ 66 w 104"/>
                <a:gd name="T29" fmla="*/ 2 h 118"/>
                <a:gd name="T30" fmla="*/ 88 w 104"/>
                <a:gd name="T31" fmla="*/ 14 h 118"/>
                <a:gd name="T32" fmla="*/ 100 w 104"/>
                <a:gd name="T33" fmla="*/ 32 h 118"/>
                <a:gd name="T34" fmla="*/ 104 w 104"/>
                <a:gd name="T35" fmla="*/ 54 h 118"/>
                <a:gd name="T36" fmla="*/ 20 w 104"/>
                <a:gd name="T37" fmla="*/ 66 h 118"/>
                <a:gd name="T38" fmla="*/ 22 w 104"/>
                <a:gd name="T39" fmla="*/ 80 h 118"/>
                <a:gd name="T40" fmla="*/ 28 w 104"/>
                <a:gd name="T41" fmla="*/ 90 h 118"/>
                <a:gd name="T42" fmla="*/ 40 w 104"/>
                <a:gd name="T43" fmla="*/ 100 h 118"/>
                <a:gd name="T44" fmla="*/ 56 w 104"/>
                <a:gd name="T45" fmla="*/ 102 h 118"/>
                <a:gd name="T46" fmla="*/ 66 w 104"/>
                <a:gd name="T47" fmla="*/ 100 h 118"/>
                <a:gd name="T48" fmla="*/ 80 w 104"/>
                <a:gd name="T49" fmla="*/ 90 h 118"/>
                <a:gd name="T50" fmla="*/ 102 w 104"/>
                <a:gd name="T51" fmla="*/ 80 h 118"/>
                <a:gd name="T52" fmla="*/ 84 w 104"/>
                <a:gd name="T53" fmla="*/ 48 h 118"/>
                <a:gd name="T54" fmla="*/ 74 w 104"/>
                <a:gd name="T55" fmla="*/ 26 h 118"/>
                <a:gd name="T56" fmla="*/ 64 w 104"/>
                <a:gd name="T57" fmla="*/ 20 h 118"/>
                <a:gd name="T58" fmla="*/ 52 w 104"/>
                <a:gd name="T59" fmla="*/ 16 h 118"/>
                <a:gd name="T60" fmla="*/ 46 w 104"/>
                <a:gd name="T61" fmla="*/ 18 h 118"/>
                <a:gd name="T62" fmla="*/ 34 w 104"/>
                <a:gd name="T63" fmla="*/ 22 h 118"/>
                <a:gd name="T64" fmla="*/ 22 w 104"/>
                <a:gd name="T65" fmla="*/ 36 h 118"/>
                <a:gd name="T66" fmla="*/ 84 w 104"/>
                <a:gd name="T6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18">
                  <a:moveTo>
                    <a:pt x="102" y="80"/>
                  </a:moveTo>
                  <a:lnTo>
                    <a:pt x="102" y="80"/>
                  </a:lnTo>
                  <a:lnTo>
                    <a:pt x="100" y="88"/>
                  </a:lnTo>
                  <a:lnTo>
                    <a:pt x="96" y="96"/>
                  </a:lnTo>
                  <a:lnTo>
                    <a:pt x="92" y="104"/>
                  </a:lnTo>
                  <a:lnTo>
                    <a:pt x="86" y="108"/>
                  </a:lnTo>
                  <a:lnTo>
                    <a:pt x="80" y="112"/>
                  </a:lnTo>
                  <a:lnTo>
                    <a:pt x="72" y="116"/>
                  </a:lnTo>
                  <a:lnTo>
                    <a:pt x="64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42" y="118"/>
                  </a:lnTo>
                  <a:lnTo>
                    <a:pt x="30" y="114"/>
                  </a:lnTo>
                  <a:lnTo>
                    <a:pt x="22" y="108"/>
                  </a:lnTo>
                  <a:lnTo>
                    <a:pt x="14" y="102"/>
                  </a:lnTo>
                  <a:lnTo>
                    <a:pt x="8" y="94"/>
                  </a:lnTo>
                  <a:lnTo>
                    <a:pt x="4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6"/>
                  </a:lnTo>
                  <a:lnTo>
                    <a:pt x="4" y="36"/>
                  </a:lnTo>
                  <a:lnTo>
                    <a:pt x="8" y="26"/>
                  </a:lnTo>
                  <a:lnTo>
                    <a:pt x="16" y="18"/>
                  </a:lnTo>
                  <a:lnTo>
                    <a:pt x="22" y="10"/>
                  </a:lnTo>
                  <a:lnTo>
                    <a:pt x="32" y="4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6" y="2"/>
                  </a:lnTo>
                  <a:lnTo>
                    <a:pt x="78" y="6"/>
                  </a:lnTo>
                  <a:lnTo>
                    <a:pt x="88" y="14"/>
                  </a:lnTo>
                  <a:lnTo>
                    <a:pt x="94" y="22"/>
                  </a:lnTo>
                  <a:lnTo>
                    <a:pt x="100" y="32"/>
                  </a:lnTo>
                  <a:lnTo>
                    <a:pt x="102" y="44"/>
                  </a:lnTo>
                  <a:lnTo>
                    <a:pt x="104" y="54"/>
                  </a:lnTo>
                  <a:lnTo>
                    <a:pt x="104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80"/>
                  </a:lnTo>
                  <a:lnTo>
                    <a:pt x="24" y="86"/>
                  </a:lnTo>
                  <a:lnTo>
                    <a:pt x="28" y="90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66" y="100"/>
                  </a:lnTo>
                  <a:lnTo>
                    <a:pt x="74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102" y="80"/>
                  </a:lnTo>
                  <a:close/>
                  <a:moveTo>
                    <a:pt x="84" y="48"/>
                  </a:moveTo>
                  <a:lnTo>
                    <a:pt x="84" y="48"/>
                  </a:lnTo>
                  <a:lnTo>
                    <a:pt x="82" y="36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8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6" y="18"/>
                  </a:lnTo>
                  <a:lnTo>
                    <a:pt x="40" y="20"/>
                  </a:lnTo>
                  <a:lnTo>
                    <a:pt x="34" y="22"/>
                  </a:lnTo>
                  <a:lnTo>
                    <a:pt x="30" y="26"/>
                  </a:lnTo>
                  <a:lnTo>
                    <a:pt x="22" y="36"/>
                  </a:lnTo>
                  <a:lnTo>
                    <a:pt x="20" y="48"/>
                  </a:lnTo>
                  <a:lnTo>
                    <a:pt x="84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5" name="Freeform 123"/>
            <p:cNvSpPr>
              <a:spLocks/>
            </p:cNvSpPr>
            <p:nvPr/>
          </p:nvSpPr>
          <p:spPr bwMode="auto">
            <a:xfrm>
              <a:off x="7963024" y="4493795"/>
              <a:ext cx="196820" cy="241925"/>
            </a:xfrm>
            <a:custGeom>
              <a:avLst/>
              <a:gdLst>
                <a:gd name="T0" fmla="*/ 18 w 96"/>
                <a:gd name="T1" fmla="*/ 80 h 118"/>
                <a:gd name="T2" fmla="*/ 22 w 96"/>
                <a:gd name="T3" fmla="*/ 90 h 118"/>
                <a:gd name="T4" fmla="*/ 28 w 96"/>
                <a:gd name="T5" fmla="*/ 98 h 118"/>
                <a:gd name="T6" fmla="*/ 50 w 96"/>
                <a:gd name="T7" fmla="*/ 102 h 118"/>
                <a:gd name="T8" fmla="*/ 58 w 96"/>
                <a:gd name="T9" fmla="*/ 102 h 118"/>
                <a:gd name="T10" fmla="*/ 74 w 96"/>
                <a:gd name="T11" fmla="*/ 94 h 118"/>
                <a:gd name="T12" fmla="*/ 76 w 96"/>
                <a:gd name="T13" fmla="*/ 86 h 118"/>
                <a:gd name="T14" fmla="*/ 76 w 96"/>
                <a:gd name="T15" fmla="*/ 80 h 118"/>
                <a:gd name="T16" fmla="*/ 70 w 96"/>
                <a:gd name="T17" fmla="*/ 74 h 118"/>
                <a:gd name="T18" fmla="*/ 54 w 96"/>
                <a:gd name="T19" fmla="*/ 68 h 118"/>
                <a:gd name="T20" fmla="*/ 40 w 96"/>
                <a:gd name="T21" fmla="*/ 64 h 118"/>
                <a:gd name="T22" fmla="*/ 14 w 96"/>
                <a:gd name="T23" fmla="*/ 54 h 118"/>
                <a:gd name="T24" fmla="*/ 6 w 96"/>
                <a:gd name="T25" fmla="*/ 46 h 118"/>
                <a:gd name="T26" fmla="*/ 2 w 96"/>
                <a:gd name="T27" fmla="*/ 32 h 118"/>
                <a:gd name="T28" fmla="*/ 4 w 96"/>
                <a:gd name="T29" fmla="*/ 24 h 118"/>
                <a:gd name="T30" fmla="*/ 10 w 96"/>
                <a:gd name="T31" fmla="*/ 12 h 118"/>
                <a:gd name="T32" fmla="*/ 22 w 96"/>
                <a:gd name="T33" fmla="*/ 4 h 118"/>
                <a:gd name="T34" fmla="*/ 44 w 96"/>
                <a:gd name="T35" fmla="*/ 0 h 118"/>
                <a:gd name="T36" fmla="*/ 62 w 96"/>
                <a:gd name="T37" fmla="*/ 2 h 118"/>
                <a:gd name="T38" fmla="*/ 76 w 96"/>
                <a:gd name="T39" fmla="*/ 8 h 118"/>
                <a:gd name="T40" fmla="*/ 86 w 96"/>
                <a:gd name="T41" fmla="*/ 18 h 118"/>
                <a:gd name="T42" fmla="*/ 92 w 96"/>
                <a:gd name="T43" fmla="*/ 36 h 118"/>
                <a:gd name="T44" fmla="*/ 72 w 96"/>
                <a:gd name="T45" fmla="*/ 36 h 118"/>
                <a:gd name="T46" fmla="*/ 64 w 96"/>
                <a:gd name="T47" fmla="*/ 20 h 118"/>
                <a:gd name="T48" fmla="*/ 46 w 96"/>
                <a:gd name="T49" fmla="*/ 16 h 118"/>
                <a:gd name="T50" fmla="*/ 38 w 96"/>
                <a:gd name="T51" fmla="*/ 18 h 118"/>
                <a:gd name="T52" fmla="*/ 24 w 96"/>
                <a:gd name="T53" fmla="*/ 24 h 118"/>
                <a:gd name="T54" fmla="*/ 22 w 96"/>
                <a:gd name="T55" fmla="*/ 32 h 118"/>
                <a:gd name="T56" fmla="*/ 24 w 96"/>
                <a:gd name="T57" fmla="*/ 36 h 118"/>
                <a:gd name="T58" fmla="*/ 34 w 96"/>
                <a:gd name="T59" fmla="*/ 44 h 118"/>
                <a:gd name="T60" fmla="*/ 60 w 96"/>
                <a:gd name="T61" fmla="*/ 50 h 118"/>
                <a:gd name="T62" fmla="*/ 72 w 96"/>
                <a:gd name="T63" fmla="*/ 54 h 118"/>
                <a:gd name="T64" fmla="*/ 90 w 96"/>
                <a:gd name="T65" fmla="*/ 64 h 118"/>
                <a:gd name="T66" fmla="*/ 96 w 96"/>
                <a:gd name="T67" fmla="*/ 76 h 118"/>
                <a:gd name="T68" fmla="*/ 96 w 96"/>
                <a:gd name="T69" fmla="*/ 82 h 118"/>
                <a:gd name="T70" fmla="*/ 92 w 96"/>
                <a:gd name="T71" fmla="*/ 100 h 118"/>
                <a:gd name="T72" fmla="*/ 80 w 96"/>
                <a:gd name="T73" fmla="*/ 110 h 118"/>
                <a:gd name="T74" fmla="*/ 66 w 96"/>
                <a:gd name="T75" fmla="*/ 116 h 118"/>
                <a:gd name="T76" fmla="*/ 48 w 96"/>
                <a:gd name="T77" fmla="*/ 118 h 118"/>
                <a:gd name="T78" fmla="*/ 22 w 96"/>
                <a:gd name="T79" fmla="*/ 114 h 118"/>
                <a:gd name="T80" fmla="*/ 10 w 96"/>
                <a:gd name="T81" fmla="*/ 104 h 118"/>
                <a:gd name="T82" fmla="*/ 2 w 96"/>
                <a:gd name="T83" fmla="*/ 90 h 118"/>
                <a:gd name="T84" fmla="*/ 18 w 96"/>
                <a:gd name="T85" fmla="*/ 8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118">
                  <a:moveTo>
                    <a:pt x="18" y="80"/>
                  </a:moveTo>
                  <a:lnTo>
                    <a:pt x="18" y="80"/>
                  </a:lnTo>
                  <a:lnTo>
                    <a:pt x="20" y="86"/>
                  </a:lnTo>
                  <a:lnTo>
                    <a:pt x="22" y="90"/>
                  </a:lnTo>
                  <a:lnTo>
                    <a:pt x="24" y="94"/>
                  </a:lnTo>
                  <a:lnTo>
                    <a:pt x="28" y="98"/>
                  </a:lnTo>
                  <a:lnTo>
                    <a:pt x="38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8" y="102"/>
                  </a:lnTo>
                  <a:lnTo>
                    <a:pt x="68" y="100"/>
                  </a:lnTo>
                  <a:lnTo>
                    <a:pt x="74" y="94"/>
                  </a:lnTo>
                  <a:lnTo>
                    <a:pt x="76" y="90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0"/>
                  </a:lnTo>
                  <a:lnTo>
                    <a:pt x="74" y="76"/>
                  </a:lnTo>
                  <a:lnTo>
                    <a:pt x="70" y="74"/>
                  </a:lnTo>
                  <a:lnTo>
                    <a:pt x="66" y="72"/>
                  </a:lnTo>
                  <a:lnTo>
                    <a:pt x="54" y="68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26" y="60"/>
                  </a:lnTo>
                  <a:lnTo>
                    <a:pt x="14" y="54"/>
                  </a:lnTo>
                  <a:lnTo>
                    <a:pt x="10" y="52"/>
                  </a:lnTo>
                  <a:lnTo>
                    <a:pt x="6" y="46"/>
                  </a:lnTo>
                  <a:lnTo>
                    <a:pt x="4" y="4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6" y="18"/>
                  </a:lnTo>
                  <a:lnTo>
                    <a:pt x="10" y="12"/>
                  </a:lnTo>
                  <a:lnTo>
                    <a:pt x="16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2" y="2"/>
                  </a:lnTo>
                  <a:lnTo>
                    <a:pt x="70" y="4"/>
                  </a:lnTo>
                  <a:lnTo>
                    <a:pt x="76" y="8"/>
                  </a:lnTo>
                  <a:lnTo>
                    <a:pt x="82" y="12"/>
                  </a:lnTo>
                  <a:lnTo>
                    <a:pt x="86" y="18"/>
                  </a:lnTo>
                  <a:lnTo>
                    <a:pt x="90" y="26"/>
                  </a:lnTo>
                  <a:lnTo>
                    <a:pt x="9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0" y="26"/>
                  </a:lnTo>
                  <a:lnTo>
                    <a:pt x="64" y="20"/>
                  </a:lnTo>
                  <a:lnTo>
                    <a:pt x="56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2" y="28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6"/>
                  </a:lnTo>
                  <a:lnTo>
                    <a:pt x="26" y="40"/>
                  </a:lnTo>
                  <a:lnTo>
                    <a:pt x="34" y="44"/>
                  </a:lnTo>
                  <a:lnTo>
                    <a:pt x="46" y="48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0" y="64"/>
                  </a:lnTo>
                  <a:lnTo>
                    <a:pt x="92" y="70"/>
                  </a:lnTo>
                  <a:lnTo>
                    <a:pt x="96" y="76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92"/>
                  </a:lnTo>
                  <a:lnTo>
                    <a:pt x="92" y="100"/>
                  </a:lnTo>
                  <a:lnTo>
                    <a:pt x="86" y="106"/>
                  </a:lnTo>
                  <a:lnTo>
                    <a:pt x="80" y="110"/>
                  </a:lnTo>
                  <a:lnTo>
                    <a:pt x="74" y="114"/>
                  </a:lnTo>
                  <a:lnTo>
                    <a:pt x="66" y="116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30" y="116"/>
                  </a:lnTo>
                  <a:lnTo>
                    <a:pt x="22" y="114"/>
                  </a:lnTo>
                  <a:lnTo>
                    <a:pt x="16" y="110"/>
                  </a:lnTo>
                  <a:lnTo>
                    <a:pt x="10" y="104"/>
                  </a:lnTo>
                  <a:lnTo>
                    <a:pt x="4" y="98"/>
                  </a:lnTo>
                  <a:lnTo>
                    <a:pt x="2" y="90"/>
                  </a:lnTo>
                  <a:lnTo>
                    <a:pt x="0" y="80"/>
                  </a:lnTo>
                  <a:lnTo>
                    <a:pt x="18" y="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6" name="Freeform 124"/>
            <p:cNvSpPr>
              <a:spLocks/>
            </p:cNvSpPr>
            <p:nvPr/>
          </p:nvSpPr>
          <p:spPr bwMode="auto">
            <a:xfrm>
              <a:off x="8188546" y="4493795"/>
              <a:ext cx="196820" cy="241925"/>
            </a:xfrm>
            <a:custGeom>
              <a:avLst/>
              <a:gdLst>
                <a:gd name="T0" fmla="*/ 18 w 96"/>
                <a:gd name="T1" fmla="*/ 80 h 118"/>
                <a:gd name="T2" fmla="*/ 20 w 96"/>
                <a:gd name="T3" fmla="*/ 90 h 118"/>
                <a:gd name="T4" fmla="*/ 28 w 96"/>
                <a:gd name="T5" fmla="*/ 98 h 118"/>
                <a:gd name="T6" fmla="*/ 48 w 96"/>
                <a:gd name="T7" fmla="*/ 102 h 118"/>
                <a:gd name="T8" fmla="*/ 58 w 96"/>
                <a:gd name="T9" fmla="*/ 102 h 118"/>
                <a:gd name="T10" fmla="*/ 72 w 96"/>
                <a:gd name="T11" fmla="*/ 94 h 118"/>
                <a:gd name="T12" fmla="*/ 76 w 96"/>
                <a:gd name="T13" fmla="*/ 86 h 118"/>
                <a:gd name="T14" fmla="*/ 74 w 96"/>
                <a:gd name="T15" fmla="*/ 80 h 118"/>
                <a:gd name="T16" fmla="*/ 68 w 96"/>
                <a:gd name="T17" fmla="*/ 74 h 118"/>
                <a:gd name="T18" fmla="*/ 52 w 96"/>
                <a:gd name="T19" fmla="*/ 68 h 118"/>
                <a:gd name="T20" fmla="*/ 38 w 96"/>
                <a:gd name="T21" fmla="*/ 64 h 118"/>
                <a:gd name="T22" fmla="*/ 14 w 96"/>
                <a:gd name="T23" fmla="*/ 54 h 118"/>
                <a:gd name="T24" fmla="*/ 6 w 96"/>
                <a:gd name="T25" fmla="*/ 46 h 118"/>
                <a:gd name="T26" fmla="*/ 2 w 96"/>
                <a:gd name="T27" fmla="*/ 32 h 118"/>
                <a:gd name="T28" fmla="*/ 2 w 96"/>
                <a:gd name="T29" fmla="*/ 24 h 118"/>
                <a:gd name="T30" fmla="*/ 10 w 96"/>
                <a:gd name="T31" fmla="*/ 12 h 118"/>
                <a:gd name="T32" fmla="*/ 22 w 96"/>
                <a:gd name="T33" fmla="*/ 4 h 118"/>
                <a:gd name="T34" fmla="*/ 44 w 96"/>
                <a:gd name="T35" fmla="*/ 0 h 118"/>
                <a:gd name="T36" fmla="*/ 62 w 96"/>
                <a:gd name="T37" fmla="*/ 2 h 118"/>
                <a:gd name="T38" fmla="*/ 76 w 96"/>
                <a:gd name="T39" fmla="*/ 8 h 118"/>
                <a:gd name="T40" fmla="*/ 86 w 96"/>
                <a:gd name="T41" fmla="*/ 18 h 118"/>
                <a:gd name="T42" fmla="*/ 90 w 96"/>
                <a:gd name="T43" fmla="*/ 36 h 118"/>
                <a:gd name="T44" fmla="*/ 72 w 96"/>
                <a:gd name="T45" fmla="*/ 36 h 118"/>
                <a:gd name="T46" fmla="*/ 62 w 96"/>
                <a:gd name="T47" fmla="*/ 20 h 118"/>
                <a:gd name="T48" fmla="*/ 46 w 96"/>
                <a:gd name="T49" fmla="*/ 16 h 118"/>
                <a:gd name="T50" fmla="*/ 38 w 96"/>
                <a:gd name="T51" fmla="*/ 18 h 118"/>
                <a:gd name="T52" fmla="*/ 24 w 96"/>
                <a:gd name="T53" fmla="*/ 24 h 118"/>
                <a:gd name="T54" fmla="*/ 22 w 96"/>
                <a:gd name="T55" fmla="*/ 32 h 118"/>
                <a:gd name="T56" fmla="*/ 22 w 96"/>
                <a:gd name="T57" fmla="*/ 36 h 118"/>
                <a:gd name="T58" fmla="*/ 34 w 96"/>
                <a:gd name="T59" fmla="*/ 44 h 118"/>
                <a:gd name="T60" fmla="*/ 58 w 96"/>
                <a:gd name="T61" fmla="*/ 50 h 118"/>
                <a:gd name="T62" fmla="*/ 72 w 96"/>
                <a:gd name="T63" fmla="*/ 54 h 118"/>
                <a:gd name="T64" fmla="*/ 88 w 96"/>
                <a:gd name="T65" fmla="*/ 64 h 118"/>
                <a:gd name="T66" fmla="*/ 94 w 96"/>
                <a:gd name="T67" fmla="*/ 76 h 118"/>
                <a:gd name="T68" fmla="*/ 96 w 96"/>
                <a:gd name="T69" fmla="*/ 82 h 118"/>
                <a:gd name="T70" fmla="*/ 90 w 96"/>
                <a:gd name="T71" fmla="*/ 100 h 118"/>
                <a:gd name="T72" fmla="*/ 80 w 96"/>
                <a:gd name="T73" fmla="*/ 110 h 118"/>
                <a:gd name="T74" fmla="*/ 64 w 96"/>
                <a:gd name="T75" fmla="*/ 116 h 118"/>
                <a:gd name="T76" fmla="*/ 48 w 96"/>
                <a:gd name="T77" fmla="*/ 118 h 118"/>
                <a:gd name="T78" fmla="*/ 22 w 96"/>
                <a:gd name="T79" fmla="*/ 114 h 118"/>
                <a:gd name="T80" fmla="*/ 8 w 96"/>
                <a:gd name="T81" fmla="*/ 104 h 118"/>
                <a:gd name="T82" fmla="*/ 0 w 96"/>
                <a:gd name="T83" fmla="*/ 90 h 118"/>
                <a:gd name="T84" fmla="*/ 18 w 96"/>
                <a:gd name="T85" fmla="*/ 8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118">
                  <a:moveTo>
                    <a:pt x="18" y="80"/>
                  </a:moveTo>
                  <a:lnTo>
                    <a:pt x="18" y="80"/>
                  </a:lnTo>
                  <a:lnTo>
                    <a:pt x="18" y="86"/>
                  </a:lnTo>
                  <a:lnTo>
                    <a:pt x="20" y="90"/>
                  </a:lnTo>
                  <a:lnTo>
                    <a:pt x="24" y="94"/>
                  </a:lnTo>
                  <a:lnTo>
                    <a:pt x="28" y="98"/>
                  </a:lnTo>
                  <a:lnTo>
                    <a:pt x="3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58" y="102"/>
                  </a:lnTo>
                  <a:lnTo>
                    <a:pt x="66" y="100"/>
                  </a:lnTo>
                  <a:lnTo>
                    <a:pt x="72" y="94"/>
                  </a:lnTo>
                  <a:lnTo>
                    <a:pt x="74" y="90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0"/>
                  </a:lnTo>
                  <a:lnTo>
                    <a:pt x="72" y="76"/>
                  </a:lnTo>
                  <a:lnTo>
                    <a:pt x="68" y="74"/>
                  </a:lnTo>
                  <a:lnTo>
                    <a:pt x="64" y="72"/>
                  </a:lnTo>
                  <a:lnTo>
                    <a:pt x="52" y="68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26" y="60"/>
                  </a:lnTo>
                  <a:lnTo>
                    <a:pt x="14" y="54"/>
                  </a:lnTo>
                  <a:lnTo>
                    <a:pt x="8" y="52"/>
                  </a:lnTo>
                  <a:lnTo>
                    <a:pt x="6" y="46"/>
                  </a:lnTo>
                  <a:lnTo>
                    <a:pt x="2" y="4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4"/>
                  </a:lnTo>
                  <a:lnTo>
                    <a:pt x="6" y="18"/>
                  </a:lnTo>
                  <a:lnTo>
                    <a:pt x="10" y="12"/>
                  </a:lnTo>
                  <a:lnTo>
                    <a:pt x="16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62" y="2"/>
                  </a:lnTo>
                  <a:lnTo>
                    <a:pt x="70" y="4"/>
                  </a:lnTo>
                  <a:lnTo>
                    <a:pt x="76" y="8"/>
                  </a:lnTo>
                  <a:lnTo>
                    <a:pt x="82" y="12"/>
                  </a:lnTo>
                  <a:lnTo>
                    <a:pt x="86" y="18"/>
                  </a:lnTo>
                  <a:lnTo>
                    <a:pt x="88" y="26"/>
                  </a:lnTo>
                  <a:lnTo>
                    <a:pt x="90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8" y="26"/>
                  </a:lnTo>
                  <a:lnTo>
                    <a:pt x="62" y="20"/>
                  </a:lnTo>
                  <a:lnTo>
                    <a:pt x="5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2" y="28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34" y="44"/>
                  </a:lnTo>
                  <a:lnTo>
                    <a:pt x="46" y="4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88" y="64"/>
                  </a:lnTo>
                  <a:lnTo>
                    <a:pt x="92" y="70"/>
                  </a:lnTo>
                  <a:lnTo>
                    <a:pt x="94" y="76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4" y="92"/>
                  </a:lnTo>
                  <a:lnTo>
                    <a:pt x="90" y="100"/>
                  </a:lnTo>
                  <a:lnTo>
                    <a:pt x="86" y="106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64" y="116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30" y="116"/>
                  </a:lnTo>
                  <a:lnTo>
                    <a:pt x="22" y="114"/>
                  </a:lnTo>
                  <a:lnTo>
                    <a:pt x="14" y="110"/>
                  </a:lnTo>
                  <a:lnTo>
                    <a:pt x="8" y="104"/>
                  </a:lnTo>
                  <a:lnTo>
                    <a:pt x="4" y="98"/>
                  </a:lnTo>
                  <a:lnTo>
                    <a:pt x="0" y="90"/>
                  </a:lnTo>
                  <a:lnTo>
                    <a:pt x="0" y="80"/>
                  </a:lnTo>
                  <a:lnTo>
                    <a:pt x="18" y="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7" name="Freeform 125"/>
            <p:cNvSpPr>
              <a:spLocks noEditPoints="1"/>
            </p:cNvSpPr>
            <p:nvPr/>
          </p:nvSpPr>
          <p:spPr bwMode="auto">
            <a:xfrm>
              <a:off x="3641184" y="3505595"/>
              <a:ext cx="569958" cy="643765"/>
            </a:xfrm>
            <a:custGeom>
              <a:avLst/>
              <a:gdLst>
                <a:gd name="T0" fmla="*/ 0 w 278"/>
                <a:gd name="T1" fmla="*/ 0 h 314"/>
                <a:gd name="T2" fmla="*/ 136 w 278"/>
                <a:gd name="T3" fmla="*/ 0 h 314"/>
                <a:gd name="T4" fmla="*/ 136 w 278"/>
                <a:gd name="T5" fmla="*/ 0 h 314"/>
                <a:gd name="T6" fmla="*/ 150 w 278"/>
                <a:gd name="T7" fmla="*/ 2 h 314"/>
                <a:gd name="T8" fmla="*/ 164 w 278"/>
                <a:gd name="T9" fmla="*/ 2 h 314"/>
                <a:gd name="T10" fmla="*/ 178 w 278"/>
                <a:gd name="T11" fmla="*/ 6 h 314"/>
                <a:gd name="T12" fmla="*/ 192 w 278"/>
                <a:gd name="T13" fmla="*/ 10 h 314"/>
                <a:gd name="T14" fmla="*/ 204 w 278"/>
                <a:gd name="T15" fmla="*/ 16 h 314"/>
                <a:gd name="T16" fmla="*/ 216 w 278"/>
                <a:gd name="T17" fmla="*/ 22 h 314"/>
                <a:gd name="T18" fmla="*/ 226 w 278"/>
                <a:gd name="T19" fmla="*/ 30 h 314"/>
                <a:gd name="T20" fmla="*/ 236 w 278"/>
                <a:gd name="T21" fmla="*/ 38 h 314"/>
                <a:gd name="T22" fmla="*/ 246 w 278"/>
                <a:gd name="T23" fmla="*/ 50 h 314"/>
                <a:gd name="T24" fmla="*/ 254 w 278"/>
                <a:gd name="T25" fmla="*/ 60 h 314"/>
                <a:gd name="T26" fmla="*/ 262 w 278"/>
                <a:gd name="T27" fmla="*/ 74 h 314"/>
                <a:gd name="T28" fmla="*/ 266 w 278"/>
                <a:gd name="T29" fmla="*/ 88 h 314"/>
                <a:gd name="T30" fmla="*/ 272 w 278"/>
                <a:gd name="T31" fmla="*/ 102 h 314"/>
                <a:gd name="T32" fmla="*/ 274 w 278"/>
                <a:gd name="T33" fmla="*/ 118 h 314"/>
                <a:gd name="T34" fmla="*/ 276 w 278"/>
                <a:gd name="T35" fmla="*/ 136 h 314"/>
                <a:gd name="T36" fmla="*/ 278 w 278"/>
                <a:gd name="T37" fmla="*/ 156 h 314"/>
                <a:gd name="T38" fmla="*/ 278 w 278"/>
                <a:gd name="T39" fmla="*/ 156 h 314"/>
                <a:gd name="T40" fmla="*/ 276 w 278"/>
                <a:gd name="T41" fmla="*/ 188 h 314"/>
                <a:gd name="T42" fmla="*/ 272 w 278"/>
                <a:gd name="T43" fmla="*/ 204 h 314"/>
                <a:gd name="T44" fmla="*/ 268 w 278"/>
                <a:gd name="T45" fmla="*/ 218 h 314"/>
                <a:gd name="T46" fmla="*/ 264 w 278"/>
                <a:gd name="T47" fmla="*/ 232 h 314"/>
                <a:gd name="T48" fmla="*/ 258 w 278"/>
                <a:gd name="T49" fmla="*/ 246 h 314"/>
                <a:gd name="T50" fmla="*/ 250 w 278"/>
                <a:gd name="T51" fmla="*/ 258 h 314"/>
                <a:gd name="T52" fmla="*/ 242 w 278"/>
                <a:gd name="T53" fmla="*/ 268 h 314"/>
                <a:gd name="T54" fmla="*/ 232 w 278"/>
                <a:gd name="T55" fmla="*/ 278 h 314"/>
                <a:gd name="T56" fmla="*/ 222 w 278"/>
                <a:gd name="T57" fmla="*/ 288 h 314"/>
                <a:gd name="T58" fmla="*/ 210 w 278"/>
                <a:gd name="T59" fmla="*/ 296 h 314"/>
                <a:gd name="T60" fmla="*/ 198 w 278"/>
                <a:gd name="T61" fmla="*/ 302 h 314"/>
                <a:gd name="T62" fmla="*/ 184 w 278"/>
                <a:gd name="T63" fmla="*/ 308 h 314"/>
                <a:gd name="T64" fmla="*/ 168 w 278"/>
                <a:gd name="T65" fmla="*/ 310 h 314"/>
                <a:gd name="T66" fmla="*/ 152 w 278"/>
                <a:gd name="T67" fmla="*/ 314 h 314"/>
                <a:gd name="T68" fmla="*/ 136 w 278"/>
                <a:gd name="T69" fmla="*/ 314 h 314"/>
                <a:gd name="T70" fmla="*/ 0 w 278"/>
                <a:gd name="T71" fmla="*/ 314 h 314"/>
                <a:gd name="T72" fmla="*/ 0 w 278"/>
                <a:gd name="T73" fmla="*/ 0 h 314"/>
                <a:gd name="T74" fmla="*/ 68 w 278"/>
                <a:gd name="T75" fmla="*/ 256 h 314"/>
                <a:gd name="T76" fmla="*/ 130 w 278"/>
                <a:gd name="T77" fmla="*/ 256 h 314"/>
                <a:gd name="T78" fmla="*/ 130 w 278"/>
                <a:gd name="T79" fmla="*/ 256 h 314"/>
                <a:gd name="T80" fmla="*/ 146 w 278"/>
                <a:gd name="T81" fmla="*/ 254 h 314"/>
                <a:gd name="T82" fmla="*/ 160 w 278"/>
                <a:gd name="T83" fmla="*/ 252 h 314"/>
                <a:gd name="T84" fmla="*/ 172 w 278"/>
                <a:gd name="T85" fmla="*/ 244 h 314"/>
                <a:gd name="T86" fmla="*/ 184 w 278"/>
                <a:gd name="T87" fmla="*/ 236 h 314"/>
                <a:gd name="T88" fmla="*/ 194 w 278"/>
                <a:gd name="T89" fmla="*/ 222 h 314"/>
                <a:gd name="T90" fmla="*/ 202 w 278"/>
                <a:gd name="T91" fmla="*/ 206 h 314"/>
                <a:gd name="T92" fmla="*/ 206 w 278"/>
                <a:gd name="T93" fmla="*/ 186 h 314"/>
                <a:gd name="T94" fmla="*/ 208 w 278"/>
                <a:gd name="T95" fmla="*/ 162 h 314"/>
                <a:gd name="T96" fmla="*/ 208 w 278"/>
                <a:gd name="T97" fmla="*/ 162 h 314"/>
                <a:gd name="T98" fmla="*/ 208 w 278"/>
                <a:gd name="T99" fmla="*/ 140 h 314"/>
                <a:gd name="T100" fmla="*/ 204 w 278"/>
                <a:gd name="T101" fmla="*/ 120 h 314"/>
                <a:gd name="T102" fmla="*/ 198 w 278"/>
                <a:gd name="T103" fmla="*/ 102 h 314"/>
                <a:gd name="T104" fmla="*/ 190 w 278"/>
                <a:gd name="T105" fmla="*/ 86 h 314"/>
                <a:gd name="T106" fmla="*/ 176 w 278"/>
                <a:gd name="T107" fmla="*/ 74 h 314"/>
                <a:gd name="T108" fmla="*/ 162 w 278"/>
                <a:gd name="T109" fmla="*/ 66 h 314"/>
                <a:gd name="T110" fmla="*/ 142 w 278"/>
                <a:gd name="T111" fmla="*/ 60 h 314"/>
                <a:gd name="T112" fmla="*/ 118 w 278"/>
                <a:gd name="T113" fmla="*/ 58 h 314"/>
                <a:gd name="T114" fmla="*/ 68 w 278"/>
                <a:gd name="T115" fmla="*/ 58 h 314"/>
                <a:gd name="T116" fmla="*/ 68 w 278"/>
                <a:gd name="T117" fmla="*/ 25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8" h="314">
                  <a:moveTo>
                    <a:pt x="0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50" y="2"/>
                  </a:lnTo>
                  <a:lnTo>
                    <a:pt x="164" y="2"/>
                  </a:lnTo>
                  <a:lnTo>
                    <a:pt x="178" y="6"/>
                  </a:lnTo>
                  <a:lnTo>
                    <a:pt x="192" y="10"/>
                  </a:lnTo>
                  <a:lnTo>
                    <a:pt x="204" y="16"/>
                  </a:lnTo>
                  <a:lnTo>
                    <a:pt x="216" y="22"/>
                  </a:lnTo>
                  <a:lnTo>
                    <a:pt x="226" y="30"/>
                  </a:lnTo>
                  <a:lnTo>
                    <a:pt x="236" y="38"/>
                  </a:lnTo>
                  <a:lnTo>
                    <a:pt x="246" y="50"/>
                  </a:lnTo>
                  <a:lnTo>
                    <a:pt x="254" y="60"/>
                  </a:lnTo>
                  <a:lnTo>
                    <a:pt x="262" y="74"/>
                  </a:lnTo>
                  <a:lnTo>
                    <a:pt x="266" y="88"/>
                  </a:lnTo>
                  <a:lnTo>
                    <a:pt x="272" y="102"/>
                  </a:lnTo>
                  <a:lnTo>
                    <a:pt x="274" y="118"/>
                  </a:lnTo>
                  <a:lnTo>
                    <a:pt x="276" y="136"/>
                  </a:lnTo>
                  <a:lnTo>
                    <a:pt x="278" y="156"/>
                  </a:lnTo>
                  <a:lnTo>
                    <a:pt x="278" y="156"/>
                  </a:lnTo>
                  <a:lnTo>
                    <a:pt x="276" y="188"/>
                  </a:lnTo>
                  <a:lnTo>
                    <a:pt x="272" y="204"/>
                  </a:lnTo>
                  <a:lnTo>
                    <a:pt x="268" y="218"/>
                  </a:lnTo>
                  <a:lnTo>
                    <a:pt x="264" y="232"/>
                  </a:lnTo>
                  <a:lnTo>
                    <a:pt x="258" y="246"/>
                  </a:lnTo>
                  <a:lnTo>
                    <a:pt x="250" y="258"/>
                  </a:lnTo>
                  <a:lnTo>
                    <a:pt x="242" y="268"/>
                  </a:lnTo>
                  <a:lnTo>
                    <a:pt x="232" y="278"/>
                  </a:lnTo>
                  <a:lnTo>
                    <a:pt x="222" y="288"/>
                  </a:lnTo>
                  <a:lnTo>
                    <a:pt x="210" y="296"/>
                  </a:lnTo>
                  <a:lnTo>
                    <a:pt x="198" y="302"/>
                  </a:lnTo>
                  <a:lnTo>
                    <a:pt x="184" y="308"/>
                  </a:lnTo>
                  <a:lnTo>
                    <a:pt x="168" y="310"/>
                  </a:lnTo>
                  <a:lnTo>
                    <a:pt x="152" y="314"/>
                  </a:lnTo>
                  <a:lnTo>
                    <a:pt x="136" y="314"/>
                  </a:lnTo>
                  <a:lnTo>
                    <a:pt x="0" y="314"/>
                  </a:lnTo>
                  <a:lnTo>
                    <a:pt x="0" y="0"/>
                  </a:lnTo>
                  <a:close/>
                  <a:moveTo>
                    <a:pt x="68" y="256"/>
                  </a:moveTo>
                  <a:lnTo>
                    <a:pt x="130" y="256"/>
                  </a:lnTo>
                  <a:lnTo>
                    <a:pt x="130" y="256"/>
                  </a:lnTo>
                  <a:lnTo>
                    <a:pt x="146" y="254"/>
                  </a:lnTo>
                  <a:lnTo>
                    <a:pt x="160" y="252"/>
                  </a:lnTo>
                  <a:lnTo>
                    <a:pt x="172" y="244"/>
                  </a:lnTo>
                  <a:lnTo>
                    <a:pt x="184" y="236"/>
                  </a:lnTo>
                  <a:lnTo>
                    <a:pt x="194" y="222"/>
                  </a:lnTo>
                  <a:lnTo>
                    <a:pt x="202" y="206"/>
                  </a:lnTo>
                  <a:lnTo>
                    <a:pt x="206" y="186"/>
                  </a:lnTo>
                  <a:lnTo>
                    <a:pt x="208" y="162"/>
                  </a:lnTo>
                  <a:lnTo>
                    <a:pt x="208" y="162"/>
                  </a:lnTo>
                  <a:lnTo>
                    <a:pt x="208" y="140"/>
                  </a:lnTo>
                  <a:lnTo>
                    <a:pt x="204" y="120"/>
                  </a:lnTo>
                  <a:lnTo>
                    <a:pt x="198" y="102"/>
                  </a:lnTo>
                  <a:lnTo>
                    <a:pt x="190" y="86"/>
                  </a:lnTo>
                  <a:lnTo>
                    <a:pt x="176" y="74"/>
                  </a:lnTo>
                  <a:lnTo>
                    <a:pt x="162" y="66"/>
                  </a:lnTo>
                  <a:lnTo>
                    <a:pt x="142" y="60"/>
                  </a:lnTo>
                  <a:lnTo>
                    <a:pt x="118" y="58"/>
                  </a:lnTo>
                  <a:lnTo>
                    <a:pt x="68" y="58"/>
                  </a:lnTo>
                  <a:lnTo>
                    <a:pt x="68" y="25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8" name="Freeform 126"/>
            <p:cNvSpPr>
              <a:spLocks noEditPoints="1"/>
            </p:cNvSpPr>
            <p:nvPr/>
          </p:nvSpPr>
          <p:spPr bwMode="auto">
            <a:xfrm>
              <a:off x="4248045" y="3669611"/>
              <a:ext cx="467448" cy="492050"/>
            </a:xfrm>
            <a:custGeom>
              <a:avLst/>
              <a:gdLst>
                <a:gd name="T0" fmla="*/ 64 w 228"/>
                <a:gd name="T1" fmla="*/ 136 h 240"/>
                <a:gd name="T2" fmla="*/ 68 w 228"/>
                <a:gd name="T3" fmla="*/ 162 h 240"/>
                <a:gd name="T4" fmla="*/ 78 w 228"/>
                <a:gd name="T5" fmla="*/ 180 h 240"/>
                <a:gd name="T6" fmla="*/ 96 w 228"/>
                <a:gd name="T7" fmla="*/ 190 h 240"/>
                <a:gd name="T8" fmla="*/ 120 w 228"/>
                <a:gd name="T9" fmla="*/ 194 h 240"/>
                <a:gd name="T10" fmla="*/ 128 w 228"/>
                <a:gd name="T11" fmla="*/ 192 h 240"/>
                <a:gd name="T12" fmla="*/ 152 w 228"/>
                <a:gd name="T13" fmla="*/ 184 h 240"/>
                <a:gd name="T14" fmla="*/ 166 w 228"/>
                <a:gd name="T15" fmla="*/ 170 h 240"/>
                <a:gd name="T16" fmla="*/ 224 w 228"/>
                <a:gd name="T17" fmla="*/ 164 h 240"/>
                <a:gd name="T18" fmla="*/ 216 w 228"/>
                <a:gd name="T19" fmla="*/ 182 h 240"/>
                <a:gd name="T20" fmla="*/ 196 w 228"/>
                <a:gd name="T21" fmla="*/ 212 h 240"/>
                <a:gd name="T22" fmla="*/ 168 w 228"/>
                <a:gd name="T23" fmla="*/ 230 h 240"/>
                <a:gd name="T24" fmla="*/ 136 w 228"/>
                <a:gd name="T25" fmla="*/ 240 h 240"/>
                <a:gd name="T26" fmla="*/ 116 w 228"/>
                <a:gd name="T27" fmla="*/ 240 h 240"/>
                <a:gd name="T28" fmla="*/ 68 w 228"/>
                <a:gd name="T29" fmla="*/ 232 h 240"/>
                <a:gd name="T30" fmla="*/ 48 w 228"/>
                <a:gd name="T31" fmla="*/ 220 h 240"/>
                <a:gd name="T32" fmla="*/ 18 w 228"/>
                <a:gd name="T33" fmla="*/ 190 h 240"/>
                <a:gd name="T34" fmla="*/ 2 w 228"/>
                <a:gd name="T35" fmla="*/ 146 h 240"/>
                <a:gd name="T36" fmla="*/ 0 w 228"/>
                <a:gd name="T37" fmla="*/ 120 h 240"/>
                <a:gd name="T38" fmla="*/ 10 w 228"/>
                <a:gd name="T39" fmla="*/ 74 h 240"/>
                <a:gd name="T40" fmla="*/ 34 w 228"/>
                <a:gd name="T41" fmla="*/ 36 h 240"/>
                <a:gd name="T42" fmla="*/ 70 w 228"/>
                <a:gd name="T43" fmla="*/ 10 h 240"/>
                <a:gd name="T44" fmla="*/ 92 w 228"/>
                <a:gd name="T45" fmla="*/ 4 h 240"/>
                <a:gd name="T46" fmla="*/ 116 w 228"/>
                <a:gd name="T47" fmla="*/ 0 h 240"/>
                <a:gd name="T48" fmla="*/ 130 w 228"/>
                <a:gd name="T49" fmla="*/ 2 h 240"/>
                <a:gd name="T50" fmla="*/ 156 w 228"/>
                <a:gd name="T51" fmla="*/ 8 h 240"/>
                <a:gd name="T52" fmla="*/ 178 w 228"/>
                <a:gd name="T53" fmla="*/ 18 h 240"/>
                <a:gd name="T54" fmla="*/ 196 w 228"/>
                <a:gd name="T55" fmla="*/ 34 h 240"/>
                <a:gd name="T56" fmla="*/ 210 w 228"/>
                <a:gd name="T57" fmla="*/ 52 h 240"/>
                <a:gd name="T58" fmla="*/ 222 w 228"/>
                <a:gd name="T59" fmla="*/ 86 h 240"/>
                <a:gd name="T60" fmla="*/ 228 w 228"/>
                <a:gd name="T61" fmla="*/ 136 h 240"/>
                <a:gd name="T62" fmla="*/ 164 w 228"/>
                <a:gd name="T63" fmla="*/ 96 h 240"/>
                <a:gd name="T64" fmla="*/ 162 w 228"/>
                <a:gd name="T65" fmla="*/ 84 h 240"/>
                <a:gd name="T66" fmla="*/ 154 w 228"/>
                <a:gd name="T67" fmla="*/ 66 h 240"/>
                <a:gd name="T68" fmla="*/ 142 w 228"/>
                <a:gd name="T69" fmla="*/ 54 h 240"/>
                <a:gd name="T70" fmla="*/ 126 w 228"/>
                <a:gd name="T71" fmla="*/ 48 h 240"/>
                <a:gd name="T72" fmla="*/ 116 w 228"/>
                <a:gd name="T73" fmla="*/ 48 h 240"/>
                <a:gd name="T74" fmla="*/ 90 w 228"/>
                <a:gd name="T75" fmla="*/ 52 h 240"/>
                <a:gd name="T76" fmla="*/ 74 w 228"/>
                <a:gd name="T77" fmla="*/ 66 h 240"/>
                <a:gd name="T78" fmla="*/ 66 w 228"/>
                <a:gd name="T79" fmla="*/ 82 h 240"/>
                <a:gd name="T80" fmla="*/ 164 w 228"/>
                <a:gd name="T81" fmla="*/ 9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8" h="240">
                  <a:moveTo>
                    <a:pt x="64" y="136"/>
                  </a:moveTo>
                  <a:lnTo>
                    <a:pt x="64" y="136"/>
                  </a:lnTo>
                  <a:lnTo>
                    <a:pt x="64" y="150"/>
                  </a:lnTo>
                  <a:lnTo>
                    <a:pt x="68" y="162"/>
                  </a:lnTo>
                  <a:lnTo>
                    <a:pt x="72" y="172"/>
                  </a:lnTo>
                  <a:lnTo>
                    <a:pt x="78" y="180"/>
                  </a:lnTo>
                  <a:lnTo>
                    <a:pt x="86" y="186"/>
                  </a:lnTo>
                  <a:lnTo>
                    <a:pt x="96" y="190"/>
                  </a:lnTo>
                  <a:lnTo>
                    <a:pt x="106" y="192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8" y="192"/>
                  </a:lnTo>
                  <a:lnTo>
                    <a:pt x="136" y="190"/>
                  </a:lnTo>
                  <a:lnTo>
                    <a:pt x="152" y="184"/>
                  </a:lnTo>
                  <a:lnTo>
                    <a:pt x="162" y="174"/>
                  </a:lnTo>
                  <a:lnTo>
                    <a:pt x="166" y="170"/>
                  </a:lnTo>
                  <a:lnTo>
                    <a:pt x="168" y="164"/>
                  </a:lnTo>
                  <a:lnTo>
                    <a:pt x="224" y="164"/>
                  </a:lnTo>
                  <a:lnTo>
                    <a:pt x="224" y="164"/>
                  </a:lnTo>
                  <a:lnTo>
                    <a:pt x="216" y="182"/>
                  </a:lnTo>
                  <a:lnTo>
                    <a:pt x="206" y="198"/>
                  </a:lnTo>
                  <a:lnTo>
                    <a:pt x="196" y="212"/>
                  </a:lnTo>
                  <a:lnTo>
                    <a:pt x="182" y="222"/>
                  </a:lnTo>
                  <a:lnTo>
                    <a:pt x="168" y="230"/>
                  </a:lnTo>
                  <a:lnTo>
                    <a:pt x="152" y="236"/>
                  </a:lnTo>
                  <a:lnTo>
                    <a:pt x="136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2" y="238"/>
                  </a:lnTo>
                  <a:lnTo>
                    <a:pt x="68" y="232"/>
                  </a:lnTo>
                  <a:lnTo>
                    <a:pt x="58" y="226"/>
                  </a:lnTo>
                  <a:lnTo>
                    <a:pt x="48" y="220"/>
                  </a:lnTo>
                  <a:lnTo>
                    <a:pt x="32" y="206"/>
                  </a:lnTo>
                  <a:lnTo>
                    <a:pt x="18" y="190"/>
                  </a:lnTo>
                  <a:lnTo>
                    <a:pt x="8" y="170"/>
                  </a:lnTo>
                  <a:lnTo>
                    <a:pt x="2" y="14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96"/>
                  </a:lnTo>
                  <a:lnTo>
                    <a:pt x="10" y="74"/>
                  </a:lnTo>
                  <a:lnTo>
                    <a:pt x="20" y="52"/>
                  </a:lnTo>
                  <a:lnTo>
                    <a:pt x="34" y="36"/>
                  </a:lnTo>
                  <a:lnTo>
                    <a:pt x="50" y="20"/>
                  </a:lnTo>
                  <a:lnTo>
                    <a:pt x="70" y="10"/>
                  </a:lnTo>
                  <a:lnTo>
                    <a:pt x="80" y="6"/>
                  </a:lnTo>
                  <a:lnTo>
                    <a:pt x="92" y="4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0" y="2"/>
                  </a:lnTo>
                  <a:lnTo>
                    <a:pt x="144" y="4"/>
                  </a:lnTo>
                  <a:lnTo>
                    <a:pt x="156" y="8"/>
                  </a:lnTo>
                  <a:lnTo>
                    <a:pt x="168" y="12"/>
                  </a:lnTo>
                  <a:lnTo>
                    <a:pt x="178" y="18"/>
                  </a:lnTo>
                  <a:lnTo>
                    <a:pt x="186" y="26"/>
                  </a:lnTo>
                  <a:lnTo>
                    <a:pt x="196" y="34"/>
                  </a:lnTo>
                  <a:lnTo>
                    <a:pt x="202" y="42"/>
                  </a:lnTo>
                  <a:lnTo>
                    <a:pt x="210" y="52"/>
                  </a:lnTo>
                  <a:lnTo>
                    <a:pt x="214" y="62"/>
                  </a:lnTo>
                  <a:lnTo>
                    <a:pt x="222" y="86"/>
                  </a:lnTo>
                  <a:lnTo>
                    <a:pt x="226" y="110"/>
                  </a:lnTo>
                  <a:lnTo>
                    <a:pt x="228" y="136"/>
                  </a:lnTo>
                  <a:lnTo>
                    <a:pt x="64" y="136"/>
                  </a:lnTo>
                  <a:close/>
                  <a:moveTo>
                    <a:pt x="164" y="96"/>
                  </a:moveTo>
                  <a:lnTo>
                    <a:pt x="164" y="96"/>
                  </a:lnTo>
                  <a:lnTo>
                    <a:pt x="162" y="84"/>
                  </a:lnTo>
                  <a:lnTo>
                    <a:pt x="158" y="76"/>
                  </a:lnTo>
                  <a:lnTo>
                    <a:pt x="154" y="66"/>
                  </a:lnTo>
                  <a:lnTo>
                    <a:pt x="150" y="60"/>
                  </a:lnTo>
                  <a:lnTo>
                    <a:pt x="142" y="54"/>
                  </a:lnTo>
                  <a:lnTo>
                    <a:pt x="134" y="50"/>
                  </a:lnTo>
                  <a:lnTo>
                    <a:pt x="12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02" y="50"/>
                  </a:lnTo>
                  <a:lnTo>
                    <a:pt x="90" y="52"/>
                  </a:lnTo>
                  <a:lnTo>
                    <a:pt x="82" y="58"/>
                  </a:lnTo>
                  <a:lnTo>
                    <a:pt x="74" y="66"/>
                  </a:lnTo>
                  <a:lnTo>
                    <a:pt x="70" y="74"/>
                  </a:lnTo>
                  <a:lnTo>
                    <a:pt x="66" y="82"/>
                  </a:lnTo>
                  <a:lnTo>
                    <a:pt x="64" y="96"/>
                  </a:lnTo>
                  <a:lnTo>
                    <a:pt x="164" y="9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09" name="Rectangle 127"/>
            <p:cNvSpPr>
              <a:spLocks noChangeArrowheads="1"/>
            </p:cNvSpPr>
            <p:nvPr/>
          </p:nvSpPr>
          <p:spPr bwMode="auto">
            <a:xfrm>
              <a:off x="4768798" y="3505595"/>
              <a:ext cx="131213" cy="643765"/>
            </a:xfrm>
            <a:prstGeom prst="rect">
              <a:avLst/>
            </a:pr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10" name="Freeform 128"/>
            <p:cNvSpPr>
              <a:spLocks noEditPoints="1"/>
            </p:cNvSpPr>
            <p:nvPr/>
          </p:nvSpPr>
          <p:spPr bwMode="auto">
            <a:xfrm>
              <a:off x="4982020" y="3505595"/>
              <a:ext cx="127113" cy="643765"/>
            </a:xfrm>
            <a:custGeom>
              <a:avLst/>
              <a:gdLst>
                <a:gd name="T0" fmla="*/ 62 w 62"/>
                <a:gd name="T1" fmla="*/ 52 h 314"/>
                <a:gd name="T2" fmla="*/ 0 w 62"/>
                <a:gd name="T3" fmla="*/ 52 h 314"/>
                <a:gd name="T4" fmla="*/ 0 w 62"/>
                <a:gd name="T5" fmla="*/ 0 h 314"/>
                <a:gd name="T6" fmla="*/ 62 w 62"/>
                <a:gd name="T7" fmla="*/ 0 h 314"/>
                <a:gd name="T8" fmla="*/ 62 w 62"/>
                <a:gd name="T9" fmla="*/ 52 h 314"/>
                <a:gd name="T10" fmla="*/ 0 w 62"/>
                <a:gd name="T11" fmla="*/ 86 h 314"/>
                <a:gd name="T12" fmla="*/ 62 w 62"/>
                <a:gd name="T13" fmla="*/ 86 h 314"/>
                <a:gd name="T14" fmla="*/ 62 w 62"/>
                <a:gd name="T15" fmla="*/ 314 h 314"/>
                <a:gd name="T16" fmla="*/ 0 w 62"/>
                <a:gd name="T17" fmla="*/ 314 h 314"/>
                <a:gd name="T18" fmla="*/ 0 w 62"/>
                <a:gd name="T19" fmla="*/ 8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314">
                  <a:moveTo>
                    <a:pt x="62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62" y="0"/>
                  </a:lnTo>
                  <a:lnTo>
                    <a:pt x="62" y="52"/>
                  </a:lnTo>
                  <a:close/>
                  <a:moveTo>
                    <a:pt x="0" y="86"/>
                  </a:moveTo>
                  <a:lnTo>
                    <a:pt x="62" y="86"/>
                  </a:lnTo>
                  <a:lnTo>
                    <a:pt x="62" y="314"/>
                  </a:lnTo>
                  <a:lnTo>
                    <a:pt x="0" y="31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11" name="Freeform 129"/>
            <p:cNvSpPr>
              <a:spLocks/>
            </p:cNvSpPr>
            <p:nvPr/>
          </p:nvSpPr>
          <p:spPr bwMode="auto">
            <a:xfrm>
              <a:off x="5141937" y="3681912"/>
              <a:ext cx="459246" cy="467447"/>
            </a:xfrm>
            <a:custGeom>
              <a:avLst/>
              <a:gdLst>
                <a:gd name="T0" fmla="*/ 148 w 224"/>
                <a:gd name="T1" fmla="*/ 228 h 228"/>
                <a:gd name="T2" fmla="*/ 78 w 224"/>
                <a:gd name="T3" fmla="*/ 228 h 228"/>
                <a:gd name="T4" fmla="*/ 0 w 224"/>
                <a:gd name="T5" fmla="*/ 0 h 228"/>
                <a:gd name="T6" fmla="*/ 66 w 224"/>
                <a:gd name="T7" fmla="*/ 0 h 228"/>
                <a:gd name="T8" fmla="*/ 114 w 224"/>
                <a:gd name="T9" fmla="*/ 156 h 228"/>
                <a:gd name="T10" fmla="*/ 114 w 224"/>
                <a:gd name="T11" fmla="*/ 156 h 228"/>
                <a:gd name="T12" fmla="*/ 162 w 224"/>
                <a:gd name="T13" fmla="*/ 0 h 228"/>
                <a:gd name="T14" fmla="*/ 224 w 224"/>
                <a:gd name="T15" fmla="*/ 0 h 228"/>
                <a:gd name="T16" fmla="*/ 148 w 224"/>
                <a:gd name="T17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28">
                  <a:moveTo>
                    <a:pt x="148" y="228"/>
                  </a:moveTo>
                  <a:lnTo>
                    <a:pt x="78" y="228"/>
                  </a:lnTo>
                  <a:lnTo>
                    <a:pt x="0" y="0"/>
                  </a:lnTo>
                  <a:lnTo>
                    <a:pt x="66" y="0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62" y="0"/>
                  </a:lnTo>
                  <a:lnTo>
                    <a:pt x="224" y="0"/>
                  </a:lnTo>
                  <a:lnTo>
                    <a:pt x="148" y="228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12" name="Freeform 130"/>
            <p:cNvSpPr>
              <a:spLocks noEditPoints="1"/>
            </p:cNvSpPr>
            <p:nvPr/>
          </p:nvSpPr>
          <p:spPr bwMode="auto">
            <a:xfrm>
              <a:off x="5609384" y="3669611"/>
              <a:ext cx="463347" cy="492050"/>
            </a:xfrm>
            <a:custGeom>
              <a:avLst/>
              <a:gdLst>
                <a:gd name="T0" fmla="*/ 62 w 226"/>
                <a:gd name="T1" fmla="*/ 136 h 240"/>
                <a:gd name="T2" fmla="*/ 68 w 226"/>
                <a:gd name="T3" fmla="*/ 162 h 240"/>
                <a:gd name="T4" fmla="*/ 78 w 226"/>
                <a:gd name="T5" fmla="*/ 180 h 240"/>
                <a:gd name="T6" fmla="*/ 96 w 226"/>
                <a:gd name="T7" fmla="*/ 190 h 240"/>
                <a:gd name="T8" fmla="*/ 118 w 226"/>
                <a:gd name="T9" fmla="*/ 194 h 240"/>
                <a:gd name="T10" fmla="*/ 128 w 226"/>
                <a:gd name="T11" fmla="*/ 192 h 240"/>
                <a:gd name="T12" fmla="*/ 150 w 226"/>
                <a:gd name="T13" fmla="*/ 184 h 240"/>
                <a:gd name="T14" fmla="*/ 166 w 226"/>
                <a:gd name="T15" fmla="*/ 170 h 240"/>
                <a:gd name="T16" fmla="*/ 222 w 226"/>
                <a:gd name="T17" fmla="*/ 164 h 240"/>
                <a:gd name="T18" fmla="*/ 214 w 226"/>
                <a:gd name="T19" fmla="*/ 182 h 240"/>
                <a:gd name="T20" fmla="*/ 194 w 226"/>
                <a:gd name="T21" fmla="*/ 212 h 240"/>
                <a:gd name="T22" fmla="*/ 168 w 226"/>
                <a:gd name="T23" fmla="*/ 230 h 240"/>
                <a:gd name="T24" fmla="*/ 134 w 226"/>
                <a:gd name="T25" fmla="*/ 240 h 240"/>
                <a:gd name="T26" fmla="*/ 116 w 226"/>
                <a:gd name="T27" fmla="*/ 240 h 240"/>
                <a:gd name="T28" fmla="*/ 68 w 226"/>
                <a:gd name="T29" fmla="*/ 232 h 240"/>
                <a:gd name="T30" fmla="*/ 48 w 226"/>
                <a:gd name="T31" fmla="*/ 220 h 240"/>
                <a:gd name="T32" fmla="*/ 18 w 226"/>
                <a:gd name="T33" fmla="*/ 190 h 240"/>
                <a:gd name="T34" fmla="*/ 2 w 226"/>
                <a:gd name="T35" fmla="*/ 146 h 240"/>
                <a:gd name="T36" fmla="*/ 0 w 226"/>
                <a:gd name="T37" fmla="*/ 120 h 240"/>
                <a:gd name="T38" fmla="*/ 8 w 226"/>
                <a:gd name="T39" fmla="*/ 74 h 240"/>
                <a:gd name="T40" fmla="*/ 32 w 226"/>
                <a:gd name="T41" fmla="*/ 36 h 240"/>
                <a:gd name="T42" fmla="*/ 68 w 226"/>
                <a:gd name="T43" fmla="*/ 10 h 240"/>
                <a:gd name="T44" fmla="*/ 92 w 226"/>
                <a:gd name="T45" fmla="*/ 4 h 240"/>
                <a:gd name="T46" fmla="*/ 116 w 226"/>
                <a:gd name="T47" fmla="*/ 0 h 240"/>
                <a:gd name="T48" fmla="*/ 130 w 226"/>
                <a:gd name="T49" fmla="*/ 2 h 240"/>
                <a:gd name="T50" fmla="*/ 156 w 226"/>
                <a:gd name="T51" fmla="*/ 8 h 240"/>
                <a:gd name="T52" fmla="*/ 176 w 226"/>
                <a:gd name="T53" fmla="*/ 18 h 240"/>
                <a:gd name="T54" fmla="*/ 194 w 226"/>
                <a:gd name="T55" fmla="*/ 34 h 240"/>
                <a:gd name="T56" fmla="*/ 208 w 226"/>
                <a:gd name="T57" fmla="*/ 52 h 240"/>
                <a:gd name="T58" fmla="*/ 222 w 226"/>
                <a:gd name="T59" fmla="*/ 86 h 240"/>
                <a:gd name="T60" fmla="*/ 226 w 226"/>
                <a:gd name="T61" fmla="*/ 136 h 240"/>
                <a:gd name="T62" fmla="*/ 164 w 226"/>
                <a:gd name="T63" fmla="*/ 96 h 240"/>
                <a:gd name="T64" fmla="*/ 162 w 226"/>
                <a:gd name="T65" fmla="*/ 84 h 240"/>
                <a:gd name="T66" fmla="*/ 154 w 226"/>
                <a:gd name="T67" fmla="*/ 66 h 240"/>
                <a:gd name="T68" fmla="*/ 142 w 226"/>
                <a:gd name="T69" fmla="*/ 54 h 240"/>
                <a:gd name="T70" fmla="*/ 124 w 226"/>
                <a:gd name="T71" fmla="*/ 48 h 240"/>
                <a:gd name="T72" fmla="*/ 114 w 226"/>
                <a:gd name="T73" fmla="*/ 48 h 240"/>
                <a:gd name="T74" fmla="*/ 90 w 226"/>
                <a:gd name="T75" fmla="*/ 52 h 240"/>
                <a:gd name="T76" fmla="*/ 74 w 226"/>
                <a:gd name="T77" fmla="*/ 66 h 240"/>
                <a:gd name="T78" fmla="*/ 66 w 226"/>
                <a:gd name="T79" fmla="*/ 82 h 240"/>
                <a:gd name="T80" fmla="*/ 164 w 226"/>
                <a:gd name="T81" fmla="*/ 9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6" h="240">
                  <a:moveTo>
                    <a:pt x="62" y="136"/>
                  </a:moveTo>
                  <a:lnTo>
                    <a:pt x="62" y="136"/>
                  </a:lnTo>
                  <a:lnTo>
                    <a:pt x="64" y="150"/>
                  </a:lnTo>
                  <a:lnTo>
                    <a:pt x="68" y="162"/>
                  </a:lnTo>
                  <a:lnTo>
                    <a:pt x="72" y="172"/>
                  </a:lnTo>
                  <a:lnTo>
                    <a:pt x="78" y="180"/>
                  </a:lnTo>
                  <a:lnTo>
                    <a:pt x="86" y="186"/>
                  </a:lnTo>
                  <a:lnTo>
                    <a:pt x="96" y="190"/>
                  </a:lnTo>
                  <a:lnTo>
                    <a:pt x="106" y="192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28" y="192"/>
                  </a:lnTo>
                  <a:lnTo>
                    <a:pt x="136" y="190"/>
                  </a:lnTo>
                  <a:lnTo>
                    <a:pt x="150" y="184"/>
                  </a:lnTo>
                  <a:lnTo>
                    <a:pt x="162" y="174"/>
                  </a:lnTo>
                  <a:lnTo>
                    <a:pt x="166" y="170"/>
                  </a:lnTo>
                  <a:lnTo>
                    <a:pt x="168" y="164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14" y="182"/>
                  </a:lnTo>
                  <a:lnTo>
                    <a:pt x="206" y="198"/>
                  </a:lnTo>
                  <a:lnTo>
                    <a:pt x="194" y="212"/>
                  </a:lnTo>
                  <a:lnTo>
                    <a:pt x="182" y="222"/>
                  </a:lnTo>
                  <a:lnTo>
                    <a:pt x="168" y="230"/>
                  </a:lnTo>
                  <a:lnTo>
                    <a:pt x="152" y="236"/>
                  </a:lnTo>
                  <a:lnTo>
                    <a:pt x="134" y="240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90" y="238"/>
                  </a:lnTo>
                  <a:lnTo>
                    <a:pt x="68" y="232"/>
                  </a:lnTo>
                  <a:lnTo>
                    <a:pt x="58" y="226"/>
                  </a:lnTo>
                  <a:lnTo>
                    <a:pt x="48" y="220"/>
                  </a:lnTo>
                  <a:lnTo>
                    <a:pt x="32" y="206"/>
                  </a:lnTo>
                  <a:lnTo>
                    <a:pt x="18" y="190"/>
                  </a:lnTo>
                  <a:lnTo>
                    <a:pt x="8" y="170"/>
                  </a:lnTo>
                  <a:lnTo>
                    <a:pt x="2" y="14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2" y="96"/>
                  </a:lnTo>
                  <a:lnTo>
                    <a:pt x="8" y="74"/>
                  </a:lnTo>
                  <a:lnTo>
                    <a:pt x="18" y="52"/>
                  </a:lnTo>
                  <a:lnTo>
                    <a:pt x="32" y="36"/>
                  </a:lnTo>
                  <a:lnTo>
                    <a:pt x="50" y="20"/>
                  </a:lnTo>
                  <a:lnTo>
                    <a:pt x="68" y="10"/>
                  </a:lnTo>
                  <a:lnTo>
                    <a:pt x="80" y="6"/>
                  </a:lnTo>
                  <a:lnTo>
                    <a:pt x="92" y="4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0" y="2"/>
                  </a:lnTo>
                  <a:lnTo>
                    <a:pt x="144" y="4"/>
                  </a:lnTo>
                  <a:lnTo>
                    <a:pt x="156" y="8"/>
                  </a:lnTo>
                  <a:lnTo>
                    <a:pt x="166" y="12"/>
                  </a:lnTo>
                  <a:lnTo>
                    <a:pt x="176" y="18"/>
                  </a:lnTo>
                  <a:lnTo>
                    <a:pt x="186" y="26"/>
                  </a:lnTo>
                  <a:lnTo>
                    <a:pt x="194" y="34"/>
                  </a:lnTo>
                  <a:lnTo>
                    <a:pt x="202" y="42"/>
                  </a:lnTo>
                  <a:lnTo>
                    <a:pt x="208" y="52"/>
                  </a:lnTo>
                  <a:lnTo>
                    <a:pt x="214" y="62"/>
                  </a:lnTo>
                  <a:lnTo>
                    <a:pt x="222" y="86"/>
                  </a:lnTo>
                  <a:lnTo>
                    <a:pt x="226" y="110"/>
                  </a:lnTo>
                  <a:lnTo>
                    <a:pt x="226" y="136"/>
                  </a:lnTo>
                  <a:lnTo>
                    <a:pt x="62" y="136"/>
                  </a:lnTo>
                  <a:close/>
                  <a:moveTo>
                    <a:pt x="164" y="96"/>
                  </a:moveTo>
                  <a:lnTo>
                    <a:pt x="164" y="96"/>
                  </a:lnTo>
                  <a:lnTo>
                    <a:pt x="162" y="84"/>
                  </a:lnTo>
                  <a:lnTo>
                    <a:pt x="158" y="76"/>
                  </a:lnTo>
                  <a:lnTo>
                    <a:pt x="154" y="66"/>
                  </a:lnTo>
                  <a:lnTo>
                    <a:pt x="148" y="60"/>
                  </a:lnTo>
                  <a:lnTo>
                    <a:pt x="142" y="54"/>
                  </a:lnTo>
                  <a:lnTo>
                    <a:pt x="134" y="50"/>
                  </a:lnTo>
                  <a:lnTo>
                    <a:pt x="124" y="48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00" y="50"/>
                  </a:lnTo>
                  <a:lnTo>
                    <a:pt x="90" y="52"/>
                  </a:lnTo>
                  <a:lnTo>
                    <a:pt x="80" y="58"/>
                  </a:lnTo>
                  <a:lnTo>
                    <a:pt x="74" y="66"/>
                  </a:lnTo>
                  <a:lnTo>
                    <a:pt x="68" y="74"/>
                  </a:lnTo>
                  <a:lnTo>
                    <a:pt x="66" y="82"/>
                  </a:lnTo>
                  <a:lnTo>
                    <a:pt x="62" y="96"/>
                  </a:lnTo>
                  <a:lnTo>
                    <a:pt x="164" y="9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13" name="Freeform 131"/>
            <p:cNvSpPr>
              <a:spLocks/>
            </p:cNvSpPr>
            <p:nvPr/>
          </p:nvSpPr>
          <p:spPr bwMode="auto">
            <a:xfrm>
              <a:off x="6126036" y="3669611"/>
              <a:ext cx="299331" cy="479749"/>
            </a:xfrm>
            <a:custGeom>
              <a:avLst/>
              <a:gdLst>
                <a:gd name="T0" fmla="*/ 0 w 146"/>
                <a:gd name="T1" fmla="*/ 6 h 234"/>
                <a:gd name="T2" fmla="*/ 60 w 146"/>
                <a:gd name="T3" fmla="*/ 6 h 234"/>
                <a:gd name="T4" fmla="*/ 60 w 146"/>
                <a:gd name="T5" fmla="*/ 50 h 234"/>
                <a:gd name="T6" fmla="*/ 60 w 146"/>
                <a:gd name="T7" fmla="*/ 50 h 234"/>
                <a:gd name="T8" fmla="*/ 60 w 146"/>
                <a:gd name="T9" fmla="*/ 50 h 234"/>
                <a:gd name="T10" fmla="*/ 66 w 146"/>
                <a:gd name="T11" fmla="*/ 38 h 234"/>
                <a:gd name="T12" fmla="*/ 72 w 146"/>
                <a:gd name="T13" fmla="*/ 30 h 234"/>
                <a:gd name="T14" fmla="*/ 80 w 146"/>
                <a:gd name="T15" fmla="*/ 22 h 234"/>
                <a:gd name="T16" fmla="*/ 90 w 146"/>
                <a:gd name="T17" fmla="*/ 14 h 234"/>
                <a:gd name="T18" fmla="*/ 100 w 146"/>
                <a:gd name="T19" fmla="*/ 8 h 234"/>
                <a:gd name="T20" fmla="*/ 110 w 146"/>
                <a:gd name="T21" fmla="*/ 4 h 234"/>
                <a:gd name="T22" fmla="*/ 122 w 146"/>
                <a:gd name="T23" fmla="*/ 2 h 234"/>
                <a:gd name="T24" fmla="*/ 132 w 146"/>
                <a:gd name="T25" fmla="*/ 0 h 234"/>
                <a:gd name="T26" fmla="*/ 132 w 146"/>
                <a:gd name="T27" fmla="*/ 0 h 234"/>
                <a:gd name="T28" fmla="*/ 146 w 146"/>
                <a:gd name="T29" fmla="*/ 4 h 234"/>
                <a:gd name="T30" fmla="*/ 146 w 146"/>
                <a:gd name="T31" fmla="*/ 62 h 234"/>
                <a:gd name="T32" fmla="*/ 146 w 146"/>
                <a:gd name="T33" fmla="*/ 62 h 234"/>
                <a:gd name="T34" fmla="*/ 124 w 146"/>
                <a:gd name="T35" fmla="*/ 58 h 234"/>
                <a:gd name="T36" fmla="*/ 124 w 146"/>
                <a:gd name="T37" fmla="*/ 58 h 234"/>
                <a:gd name="T38" fmla="*/ 108 w 146"/>
                <a:gd name="T39" fmla="*/ 60 h 234"/>
                <a:gd name="T40" fmla="*/ 96 w 146"/>
                <a:gd name="T41" fmla="*/ 64 h 234"/>
                <a:gd name="T42" fmla="*/ 84 w 146"/>
                <a:gd name="T43" fmla="*/ 72 h 234"/>
                <a:gd name="T44" fmla="*/ 76 w 146"/>
                <a:gd name="T45" fmla="*/ 80 h 234"/>
                <a:gd name="T46" fmla="*/ 70 w 146"/>
                <a:gd name="T47" fmla="*/ 92 h 234"/>
                <a:gd name="T48" fmla="*/ 66 w 146"/>
                <a:gd name="T49" fmla="*/ 104 h 234"/>
                <a:gd name="T50" fmla="*/ 64 w 146"/>
                <a:gd name="T51" fmla="*/ 118 h 234"/>
                <a:gd name="T52" fmla="*/ 62 w 146"/>
                <a:gd name="T53" fmla="*/ 132 h 234"/>
                <a:gd name="T54" fmla="*/ 62 w 146"/>
                <a:gd name="T55" fmla="*/ 234 h 234"/>
                <a:gd name="T56" fmla="*/ 0 w 146"/>
                <a:gd name="T57" fmla="*/ 234 h 234"/>
                <a:gd name="T58" fmla="*/ 0 w 146"/>
                <a:gd name="T59" fmla="*/ 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234">
                  <a:moveTo>
                    <a:pt x="0" y="6"/>
                  </a:moveTo>
                  <a:lnTo>
                    <a:pt x="60" y="6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6" y="38"/>
                  </a:lnTo>
                  <a:lnTo>
                    <a:pt x="72" y="30"/>
                  </a:lnTo>
                  <a:lnTo>
                    <a:pt x="80" y="22"/>
                  </a:lnTo>
                  <a:lnTo>
                    <a:pt x="90" y="14"/>
                  </a:lnTo>
                  <a:lnTo>
                    <a:pt x="100" y="8"/>
                  </a:lnTo>
                  <a:lnTo>
                    <a:pt x="110" y="4"/>
                  </a:lnTo>
                  <a:lnTo>
                    <a:pt x="122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6" y="4"/>
                  </a:lnTo>
                  <a:lnTo>
                    <a:pt x="146" y="62"/>
                  </a:lnTo>
                  <a:lnTo>
                    <a:pt x="146" y="62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8" y="60"/>
                  </a:lnTo>
                  <a:lnTo>
                    <a:pt x="96" y="64"/>
                  </a:lnTo>
                  <a:lnTo>
                    <a:pt x="84" y="72"/>
                  </a:lnTo>
                  <a:lnTo>
                    <a:pt x="76" y="80"/>
                  </a:lnTo>
                  <a:lnTo>
                    <a:pt x="70" y="92"/>
                  </a:lnTo>
                  <a:lnTo>
                    <a:pt x="66" y="104"/>
                  </a:lnTo>
                  <a:lnTo>
                    <a:pt x="64" y="118"/>
                  </a:lnTo>
                  <a:lnTo>
                    <a:pt x="62" y="132"/>
                  </a:lnTo>
                  <a:lnTo>
                    <a:pt x="62" y="234"/>
                  </a:lnTo>
                  <a:lnTo>
                    <a:pt x="0" y="23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14" name="Freeform 132"/>
            <p:cNvSpPr>
              <a:spLocks/>
            </p:cNvSpPr>
            <p:nvPr/>
          </p:nvSpPr>
          <p:spPr bwMode="auto">
            <a:xfrm>
              <a:off x="6400764" y="3681912"/>
              <a:ext cx="475649" cy="631464"/>
            </a:xfrm>
            <a:custGeom>
              <a:avLst/>
              <a:gdLst>
                <a:gd name="T0" fmla="*/ 138 w 232"/>
                <a:gd name="T1" fmla="*/ 256 h 308"/>
                <a:gd name="T2" fmla="*/ 138 w 232"/>
                <a:gd name="T3" fmla="*/ 256 h 308"/>
                <a:gd name="T4" fmla="*/ 132 w 232"/>
                <a:gd name="T5" fmla="*/ 270 h 308"/>
                <a:gd name="T6" fmla="*/ 126 w 232"/>
                <a:gd name="T7" fmla="*/ 280 h 308"/>
                <a:gd name="T8" fmla="*/ 118 w 232"/>
                <a:gd name="T9" fmla="*/ 288 h 308"/>
                <a:gd name="T10" fmla="*/ 110 w 232"/>
                <a:gd name="T11" fmla="*/ 296 h 308"/>
                <a:gd name="T12" fmla="*/ 100 w 232"/>
                <a:gd name="T13" fmla="*/ 302 h 308"/>
                <a:gd name="T14" fmla="*/ 88 w 232"/>
                <a:gd name="T15" fmla="*/ 306 h 308"/>
                <a:gd name="T16" fmla="*/ 74 w 232"/>
                <a:gd name="T17" fmla="*/ 308 h 308"/>
                <a:gd name="T18" fmla="*/ 60 w 232"/>
                <a:gd name="T19" fmla="*/ 308 h 308"/>
                <a:gd name="T20" fmla="*/ 60 w 232"/>
                <a:gd name="T21" fmla="*/ 308 h 308"/>
                <a:gd name="T22" fmla="*/ 22 w 232"/>
                <a:gd name="T23" fmla="*/ 306 h 308"/>
                <a:gd name="T24" fmla="*/ 22 w 232"/>
                <a:gd name="T25" fmla="*/ 254 h 308"/>
                <a:gd name="T26" fmla="*/ 22 w 232"/>
                <a:gd name="T27" fmla="*/ 254 h 308"/>
                <a:gd name="T28" fmla="*/ 40 w 232"/>
                <a:gd name="T29" fmla="*/ 256 h 308"/>
                <a:gd name="T30" fmla="*/ 58 w 232"/>
                <a:gd name="T31" fmla="*/ 256 h 308"/>
                <a:gd name="T32" fmla="*/ 58 w 232"/>
                <a:gd name="T33" fmla="*/ 256 h 308"/>
                <a:gd name="T34" fmla="*/ 66 w 232"/>
                <a:gd name="T35" fmla="*/ 254 h 308"/>
                <a:gd name="T36" fmla="*/ 72 w 232"/>
                <a:gd name="T37" fmla="*/ 252 h 308"/>
                <a:gd name="T38" fmla="*/ 76 w 232"/>
                <a:gd name="T39" fmla="*/ 246 h 308"/>
                <a:gd name="T40" fmla="*/ 80 w 232"/>
                <a:gd name="T41" fmla="*/ 242 h 308"/>
                <a:gd name="T42" fmla="*/ 82 w 232"/>
                <a:gd name="T43" fmla="*/ 234 h 308"/>
                <a:gd name="T44" fmla="*/ 82 w 232"/>
                <a:gd name="T45" fmla="*/ 228 h 308"/>
                <a:gd name="T46" fmla="*/ 82 w 232"/>
                <a:gd name="T47" fmla="*/ 220 h 308"/>
                <a:gd name="T48" fmla="*/ 80 w 232"/>
                <a:gd name="T49" fmla="*/ 214 h 308"/>
                <a:gd name="T50" fmla="*/ 0 w 232"/>
                <a:gd name="T51" fmla="*/ 0 h 308"/>
                <a:gd name="T52" fmla="*/ 66 w 232"/>
                <a:gd name="T53" fmla="*/ 0 h 308"/>
                <a:gd name="T54" fmla="*/ 118 w 232"/>
                <a:gd name="T55" fmla="*/ 156 h 308"/>
                <a:gd name="T56" fmla="*/ 118 w 232"/>
                <a:gd name="T57" fmla="*/ 156 h 308"/>
                <a:gd name="T58" fmla="*/ 168 w 232"/>
                <a:gd name="T59" fmla="*/ 0 h 308"/>
                <a:gd name="T60" fmla="*/ 232 w 232"/>
                <a:gd name="T61" fmla="*/ 0 h 308"/>
                <a:gd name="T62" fmla="*/ 138 w 232"/>
                <a:gd name="T63" fmla="*/ 256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2" h="308">
                  <a:moveTo>
                    <a:pt x="138" y="256"/>
                  </a:moveTo>
                  <a:lnTo>
                    <a:pt x="138" y="256"/>
                  </a:lnTo>
                  <a:lnTo>
                    <a:pt x="132" y="270"/>
                  </a:lnTo>
                  <a:lnTo>
                    <a:pt x="126" y="280"/>
                  </a:lnTo>
                  <a:lnTo>
                    <a:pt x="118" y="288"/>
                  </a:lnTo>
                  <a:lnTo>
                    <a:pt x="110" y="296"/>
                  </a:lnTo>
                  <a:lnTo>
                    <a:pt x="100" y="302"/>
                  </a:lnTo>
                  <a:lnTo>
                    <a:pt x="88" y="306"/>
                  </a:lnTo>
                  <a:lnTo>
                    <a:pt x="74" y="308"/>
                  </a:lnTo>
                  <a:lnTo>
                    <a:pt x="60" y="308"/>
                  </a:lnTo>
                  <a:lnTo>
                    <a:pt x="60" y="308"/>
                  </a:lnTo>
                  <a:lnTo>
                    <a:pt x="22" y="306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40" y="256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66" y="254"/>
                  </a:lnTo>
                  <a:lnTo>
                    <a:pt x="72" y="252"/>
                  </a:lnTo>
                  <a:lnTo>
                    <a:pt x="76" y="246"/>
                  </a:lnTo>
                  <a:lnTo>
                    <a:pt x="80" y="242"/>
                  </a:lnTo>
                  <a:lnTo>
                    <a:pt x="82" y="234"/>
                  </a:lnTo>
                  <a:lnTo>
                    <a:pt x="82" y="228"/>
                  </a:lnTo>
                  <a:lnTo>
                    <a:pt x="82" y="220"/>
                  </a:lnTo>
                  <a:lnTo>
                    <a:pt x="80" y="21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68" y="0"/>
                  </a:lnTo>
                  <a:lnTo>
                    <a:pt x="232" y="0"/>
                  </a:lnTo>
                  <a:lnTo>
                    <a:pt x="138" y="256"/>
                  </a:lnTo>
                  <a:close/>
                </a:path>
              </a:pathLst>
            </a:custGeom>
            <a:solidFill>
              <a:srgbClr val="1459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grpSp>
          <p:nvGrpSpPr>
            <p:cNvPr id="115" name="Group 331"/>
            <p:cNvGrpSpPr/>
            <p:nvPr/>
          </p:nvGrpSpPr>
          <p:grpSpPr>
            <a:xfrm>
              <a:off x="2562639" y="3176146"/>
              <a:ext cx="728471" cy="728470"/>
              <a:chOff x="2601584" y="1529279"/>
              <a:chExt cx="564063" cy="564063"/>
            </a:xfrm>
          </p:grpSpPr>
          <p:sp>
            <p:nvSpPr>
              <p:cNvPr id="131" name="Rounded Rectangle 130"/>
              <p:cNvSpPr/>
              <p:nvPr/>
            </p:nvSpPr>
            <p:spPr>
              <a:xfrm>
                <a:off x="2601584" y="1529279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latin typeface="+mj-lt"/>
                </a:endParaRPr>
              </a:p>
            </p:txBody>
          </p:sp>
          <p:grpSp>
            <p:nvGrpSpPr>
              <p:cNvPr id="116" name="Group 333"/>
              <p:cNvGrpSpPr/>
              <p:nvPr/>
            </p:nvGrpSpPr>
            <p:grpSpPr>
              <a:xfrm>
                <a:off x="2660093" y="1602823"/>
                <a:ext cx="431800" cy="425450"/>
                <a:chOff x="2863850" y="3182938"/>
                <a:chExt cx="431800" cy="425450"/>
              </a:xfrm>
            </p:grpSpPr>
            <p:sp>
              <p:nvSpPr>
                <p:cNvPr id="133" name="Freeform 357"/>
                <p:cNvSpPr>
                  <a:spLocks/>
                </p:cNvSpPr>
                <p:nvPr/>
              </p:nvSpPr>
              <p:spPr bwMode="auto">
                <a:xfrm>
                  <a:off x="3098800" y="3246438"/>
                  <a:ext cx="133350" cy="133350"/>
                </a:xfrm>
                <a:custGeom>
                  <a:avLst/>
                  <a:gdLst>
                    <a:gd name="T0" fmla="*/ 8 w 84"/>
                    <a:gd name="T1" fmla="*/ 84 h 84"/>
                    <a:gd name="T2" fmla="*/ 8 w 84"/>
                    <a:gd name="T3" fmla="*/ 84 h 84"/>
                    <a:gd name="T4" fmla="*/ 6 w 84"/>
                    <a:gd name="T5" fmla="*/ 82 h 84"/>
                    <a:gd name="T6" fmla="*/ 4 w 84"/>
                    <a:gd name="T7" fmla="*/ 80 h 84"/>
                    <a:gd name="T8" fmla="*/ 4 w 84"/>
                    <a:gd name="T9" fmla="*/ 80 h 84"/>
                    <a:gd name="T10" fmla="*/ 2 w 84"/>
                    <a:gd name="T11" fmla="*/ 78 h 84"/>
                    <a:gd name="T12" fmla="*/ 0 w 84"/>
                    <a:gd name="T13" fmla="*/ 76 h 84"/>
                    <a:gd name="T14" fmla="*/ 2 w 84"/>
                    <a:gd name="T15" fmla="*/ 72 h 84"/>
                    <a:gd name="T16" fmla="*/ 4 w 84"/>
                    <a:gd name="T17" fmla="*/ 70 h 84"/>
                    <a:gd name="T18" fmla="*/ 70 w 84"/>
                    <a:gd name="T19" fmla="*/ 2 h 84"/>
                    <a:gd name="T20" fmla="*/ 70 w 84"/>
                    <a:gd name="T21" fmla="*/ 2 h 84"/>
                    <a:gd name="T22" fmla="*/ 74 w 84"/>
                    <a:gd name="T23" fmla="*/ 0 h 84"/>
                    <a:gd name="T24" fmla="*/ 76 w 84"/>
                    <a:gd name="T25" fmla="*/ 0 h 84"/>
                    <a:gd name="T26" fmla="*/ 80 w 84"/>
                    <a:gd name="T27" fmla="*/ 0 h 84"/>
                    <a:gd name="T28" fmla="*/ 82 w 84"/>
                    <a:gd name="T29" fmla="*/ 2 h 84"/>
                    <a:gd name="T30" fmla="*/ 82 w 84"/>
                    <a:gd name="T31" fmla="*/ 2 h 84"/>
                    <a:gd name="T32" fmla="*/ 84 w 84"/>
                    <a:gd name="T33" fmla="*/ 4 h 84"/>
                    <a:gd name="T34" fmla="*/ 84 w 84"/>
                    <a:gd name="T35" fmla="*/ 8 h 84"/>
                    <a:gd name="T36" fmla="*/ 84 w 84"/>
                    <a:gd name="T37" fmla="*/ 10 h 84"/>
                    <a:gd name="T38" fmla="*/ 82 w 84"/>
                    <a:gd name="T39" fmla="*/ 14 h 84"/>
                    <a:gd name="T40" fmla="*/ 14 w 84"/>
                    <a:gd name="T41" fmla="*/ 80 h 84"/>
                    <a:gd name="T42" fmla="*/ 14 w 84"/>
                    <a:gd name="T43" fmla="*/ 80 h 84"/>
                    <a:gd name="T44" fmla="*/ 12 w 84"/>
                    <a:gd name="T45" fmla="*/ 82 h 84"/>
                    <a:gd name="T46" fmla="*/ 8 w 84"/>
                    <a:gd name="T47" fmla="*/ 84 h 84"/>
                    <a:gd name="T48" fmla="*/ 8 w 84"/>
                    <a:gd name="T4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4">
                      <a:moveTo>
                        <a:pt x="8" y="84"/>
                      </a:moveTo>
                      <a:lnTo>
                        <a:pt x="8" y="84"/>
                      </a:lnTo>
                      <a:lnTo>
                        <a:pt x="6" y="82"/>
                      </a:lnTo>
                      <a:lnTo>
                        <a:pt x="4" y="80"/>
                      </a:lnTo>
                      <a:lnTo>
                        <a:pt x="4" y="80"/>
                      </a:lnTo>
                      <a:lnTo>
                        <a:pt x="2" y="78"/>
                      </a:lnTo>
                      <a:lnTo>
                        <a:pt x="0" y="76"/>
                      </a:lnTo>
                      <a:lnTo>
                        <a:pt x="2" y="72"/>
                      </a:lnTo>
                      <a:lnTo>
                        <a:pt x="4" y="70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4" y="4"/>
                      </a:lnTo>
                      <a:lnTo>
                        <a:pt x="84" y="8"/>
                      </a:lnTo>
                      <a:lnTo>
                        <a:pt x="84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2" y="82"/>
                      </a:lnTo>
                      <a:lnTo>
                        <a:pt x="8" y="84"/>
                      </a:lnTo>
                      <a:lnTo>
                        <a:pt x="8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4" name="Freeform 358"/>
                <p:cNvSpPr>
                  <a:spLocks/>
                </p:cNvSpPr>
                <p:nvPr/>
              </p:nvSpPr>
              <p:spPr bwMode="auto">
                <a:xfrm>
                  <a:off x="3165475" y="318293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0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4 w 82"/>
                    <a:gd name="T13" fmla="*/ 16 h 84"/>
                    <a:gd name="T14" fmla="*/ 8 w 82"/>
                    <a:gd name="T15" fmla="*/ 18 h 84"/>
                    <a:gd name="T16" fmla="*/ 8 w 82"/>
                    <a:gd name="T17" fmla="*/ 18 h 84"/>
                    <a:gd name="T18" fmla="*/ 4 w 82"/>
                    <a:gd name="T19" fmla="*/ 16 h 84"/>
                    <a:gd name="T20" fmla="*/ 2 w 82"/>
                    <a:gd name="T21" fmla="*/ 14 h 84"/>
                    <a:gd name="T22" fmla="*/ 0 w 82"/>
                    <a:gd name="T23" fmla="*/ 12 h 84"/>
                    <a:gd name="T24" fmla="*/ 0 w 82"/>
                    <a:gd name="T25" fmla="*/ 8 h 84"/>
                    <a:gd name="T26" fmla="*/ 0 w 82"/>
                    <a:gd name="T27" fmla="*/ 8 h 84"/>
                    <a:gd name="T28" fmla="*/ 0 w 82"/>
                    <a:gd name="T29" fmla="*/ 6 h 84"/>
                    <a:gd name="T30" fmla="*/ 2 w 82"/>
                    <a:gd name="T31" fmla="*/ 4 h 84"/>
                    <a:gd name="T32" fmla="*/ 4 w 82"/>
                    <a:gd name="T33" fmla="*/ 2 h 84"/>
                    <a:gd name="T34" fmla="*/ 8 w 82"/>
                    <a:gd name="T35" fmla="*/ 0 h 84"/>
                    <a:gd name="T36" fmla="*/ 82 w 82"/>
                    <a:gd name="T37" fmla="*/ 0 h 84"/>
                    <a:gd name="T38" fmla="*/ 82 w 82"/>
                    <a:gd name="T39" fmla="*/ 76 h 84"/>
                    <a:gd name="T40" fmla="*/ 82 w 82"/>
                    <a:gd name="T41" fmla="*/ 76 h 84"/>
                    <a:gd name="T42" fmla="*/ 82 w 82"/>
                    <a:gd name="T43" fmla="*/ 80 h 84"/>
                    <a:gd name="T44" fmla="*/ 80 w 82"/>
                    <a:gd name="T45" fmla="*/ 82 h 84"/>
                    <a:gd name="T46" fmla="*/ 76 w 82"/>
                    <a:gd name="T47" fmla="*/ 84 h 84"/>
                    <a:gd name="T48" fmla="*/ 74 w 82"/>
                    <a:gd name="T49" fmla="*/ 84 h 84"/>
                    <a:gd name="T50" fmla="*/ 74 w 82"/>
                    <a:gd name="T51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0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4" y="16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4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6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5" name="Freeform 359"/>
                <p:cNvSpPr>
                  <a:spLocks/>
                </p:cNvSpPr>
                <p:nvPr/>
              </p:nvSpPr>
              <p:spPr bwMode="auto">
                <a:xfrm>
                  <a:off x="3098800" y="3468688"/>
                  <a:ext cx="133350" cy="130175"/>
                </a:xfrm>
                <a:custGeom>
                  <a:avLst/>
                  <a:gdLst>
                    <a:gd name="T0" fmla="*/ 8 w 84"/>
                    <a:gd name="T1" fmla="*/ 82 h 82"/>
                    <a:gd name="T2" fmla="*/ 8 w 84"/>
                    <a:gd name="T3" fmla="*/ 82 h 82"/>
                    <a:gd name="T4" fmla="*/ 6 w 84"/>
                    <a:gd name="T5" fmla="*/ 82 h 82"/>
                    <a:gd name="T6" fmla="*/ 4 w 84"/>
                    <a:gd name="T7" fmla="*/ 80 h 82"/>
                    <a:gd name="T8" fmla="*/ 4 w 84"/>
                    <a:gd name="T9" fmla="*/ 80 h 82"/>
                    <a:gd name="T10" fmla="*/ 2 w 84"/>
                    <a:gd name="T11" fmla="*/ 78 h 82"/>
                    <a:gd name="T12" fmla="*/ 0 w 84"/>
                    <a:gd name="T13" fmla="*/ 74 h 82"/>
                    <a:gd name="T14" fmla="*/ 2 w 84"/>
                    <a:gd name="T15" fmla="*/ 72 h 82"/>
                    <a:gd name="T16" fmla="*/ 4 w 84"/>
                    <a:gd name="T17" fmla="*/ 68 h 82"/>
                    <a:gd name="T18" fmla="*/ 70 w 84"/>
                    <a:gd name="T19" fmla="*/ 2 h 82"/>
                    <a:gd name="T20" fmla="*/ 70 w 84"/>
                    <a:gd name="T21" fmla="*/ 2 h 82"/>
                    <a:gd name="T22" fmla="*/ 74 w 84"/>
                    <a:gd name="T23" fmla="*/ 0 h 82"/>
                    <a:gd name="T24" fmla="*/ 76 w 84"/>
                    <a:gd name="T25" fmla="*/ 0 h 82"/>
                    <a:gd name="T26" fmla="*/ 80 w 84"/>
                    <a:gd name="T27" fmla="*/ 0 h 82"/>
                    <a:gd name="T28" fmla="*/ 82 w 84"/>
                    <a:gd name="T29" fmla="*/ 2 h 82"/>
                    <a:gd name="T30" fmla="*/ 82 w 84"/>
                    <a:gd name="T31" fmla="*/ 2 h 82"/>
                    <a:gd name="T32" fmla="*/ 84 w 84"/>
                    <a:gd name="T33" fmla="*/ 4 h 82"/>
                    <a:gd name="T34" fmla="*/ 84 w 84"/>
                    <a:gd name="T35" fmla="*/ 8 h 82"/>
                    <a:gd name="T36" fmla="*/ 84 w 84"/>
                    <a:gd name="T37" fmla="*/ 10 h 82"/>
                    <a:gd name="T38" fmla="*/ 82 w 84"/>
                    <a:gd name="T39" fmla="*/ 14 h 82"/>
                    <a:gd name="T40" fmla="*/ 14 w 84"/>
                    <a:gd name="T41" fmla="*/ 80 h 82"/>
                    <a:gd name="T42" fmla="*/ 14 w 84"/>
                    <a:gd name="T43" fmla="*/ 80 h 82"/>
                    <a:gd name="T44" fmla="*/ 12 w 84"/>
                    <a:gd name="T45" fmla="*/ 82 h 82"/>
                    <a:gd name="T46" fmla="*/ 8 w 84"/>
                    <a:gd name="T47" fmla="*/ 82 h 82"/>
                    <a:gd name="T48" fmla="*/ 8 w 84"/>
                    <a:gd name="T49" fmla="*/ 82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2">
                      <a:moveTo>
                        <a:pt x="8" y="82"/>
                      </a:moveTo>
                      <a:lnTo>
                        <a:pt x="8" y="82"/>
                      </a:lnTo>
                      <a:lnTo>
                        <a:pt x="6" y="82"/>
                      </a:lnTo>
                      <a:lnTo>
                        <a:pt x="4" y="80"/>
                      </a:lnTo>
                      <a:lnTo>
                        <a:pt x="4" y="80"/>
                      </a:lnTo>
                      <a:lnTo>
                        <a:pt x="2" y="78"/>
                      </a:lnTo>
                      <a:lnTo>
                        <a:pt x="0" y="74"/>
                      </a:lnTo>
                      <a:lnTo>
                        <a:pt x="2" y="72"/>
                      </a:lnTo>
                      <a:lnTo>
                        <a:pt x="4" y="68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4" y="0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4" y="4"/>
                      </a:lnTo>
                      <a:lnTo>
                        <a:pt x="84" y="8"/>
                      </a:lnTo>
                      <a:lnTo>
                        <a:pt x="84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2" y="82"/>
                      </a:lnTo>
                      <a:lnTo>
                        <a:pt x="8" y="82"/>
                      </a:lnTo>
                      <a:lnTo>
                        <a:pt x="8" y="8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6" name="Freeform 360"/>
                <p:cNvSpPr>
                  <a:spLocks/>
                </p:cNvSpPr>
                <p:nvPr/>
              </p:nvSpPr>
              <p:spPr bwMode="auto">
                <a:xfrm>
                  <a:off x="3165475" y="340518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0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4 w 82"/>
                    <a:gd name="T13" fmla="*/ 16 h 84"/>
                    <a:gd name="T14" fmla="*/ 8 w 82"/>
                    <a:gd name="T15" fmla="*/ 16 h 84"/>
                    <a:gd name="T16" fmla="*/ 8 w 82"/>
                    <a:gd name="T17" fmla="*/ 16 h 84"/>
                    <a:gd name="T18" fmla="*/ 4 w 82"/>
                    <a:gd name="T19" fmla="*/ 16 h 84"/>
                    <a:gd name="T20" fmla="*/ 2 w 82"/>
                    <a:gd name="T21" fmla="*/ 14 h 84"/>
                    <a:gd name="T22" fmla="*/ 0 w 82"/>
                    <a:gd name="T23" fmla="*/ 12 h 84"/>
                    <a:gd name="T24" fmla="*/ 0 w 82"/>
                    <a:gd name="T25" fmla="*/ 8 h 84"/>
                    <a:gd name="T26" fmla="*/ 0 w 82"/>
                    <a:gd name="T27" fmla="*/ 8 h 84"/>
                    <a:gd name="T28" fmla="*/ 0 w 82"/>
                    <a:gd name="T29" fmla="*/ 6 h 84"/>
                    <a:gd name="T30" fmla="*/ 2 w 82"/>
                    <a:gd name="T31" fmla="*/ 2 h 84"/>
                    <a:gd name="T32" fmla="*/ 4 w 82"/>
                    <a:gd name="T33" fmla="*/ 0 h 84"/>
                    <a:gd name="T34" fmla="*/ 8 w 82"/>
                    <a:gd name="T35" fmla="*/ 0 h 84"/>
                    <a:gd name="T36" fmla="*/ 82 w 82"/>
                    <a:gd name="T37" fmla="*/ 0 h 84"/>
                    <a:gd name="T38" fmla="*/ 82 w 82"/>
                    <a:gd name="T39" fmla="*/ 76 h 84"/>
                    <a:gd name="T40" fmla="*/ 82 w 82"/>
                    <a:gd name="T41" fmla="*/ 76 h 84"/>
                    <a:gd name="T42" fmla="*/ 82 w 82"/>
                    <a:gd name="T43" fmla="*/ 80 h 84"/>
                    <a:gd name="T44" fmla="*/ 80 w 82"/>
                    <a:gd name="T45" fmla="*/ 82 h 84"/>
                    <a:gd name="T46" fmla="*/ 76 w 82"/>
                    <a:gd name="T47" fmla="*/ 84 h 84"/>
                    <a:gd name="T48" fmla="*/ 74 w 82"/>
                    <a:gd name="T49" fmla="*/ 84 h 84"/>
                    <a:gd name="T50" fmla="*/ 74 w 82"/>
                    <a:gd name="T51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0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4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6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7" name="Freeform 361"/>
                <p:cNvSpPr>
                  <a:spLocks/>
                </p:cNvSpPr>
                <p:nvPr/>
              </p:nvSpPr>
              <p:spPr bwMode="auto">
                <a:xfrm>
                  <a:off x="2867025" y="3246438"/>
                  <a:ext cx="133350" cy="133350"/>
                </a:xfrm>
                <a:custGeom>
                  <a:avLst/>
                  <a:gdLst>
                    <a:gd name="T0" fmla="*/ 8 w 84"/>
                    <a:gd name="T1" fmla="*/ 84 h 84"/>
                    <a:gd name="T2" fmla="*/ 8 w 84"/>
                    <a:gd name="T3" fmla="*/ 84 h 84"/>
                    <a:gd name="T4" fmla="*/ 4 w 84"/>
                    <a:gd name="T5" fmla="*/ 82 h 84"/>
                    <a:gd name="T6" fmla="*/ 2 w 84"/>
                    <a:gd name="T7" fmla="*/ 80 h 84"/>
                    <a:gd name="T8" fmla="*/ 2 w 84"/>
                    <a:gd name="T9" fmla="*/ 80 h 84"/>
                    <a:gd name="T10" fmla="*/ 0 w 84"/>
                    <a:gd name="T11" fmla="*/ 78 h 84"/>
                    <a:gd name="T12" fmla="*/ 0 w 84"/>
                    <a:gd name="T13" fmla="*/ 76 h 84"/>
                    <a:gd name="T14" fmla="*/ 0 w 84"/>
                    <a:gd name="T15" fmla="*/ 72 h 84"/>
                    <a:gd name="T16" fmla="*/ 2 w 84"/>
                    <a:gd name="T17" fmla="*/ 70 h 84"/>
                    <a:gd name="T18" fmla="*/ 70 w 84"/>
                    <a:gd name="T19" fmla="*/ 2 h 84"/>
                    <a:gd name="T20" fmla="*/ 70 w 84"/>
                    <a:gd name="T21" fmla="*/ 2 h 84"/>
                    <a:gd name="T22" fmla="*/ 72 w 84"/>
                    <a:gd name="T23" fmla="*/ 0 h 84"/>
                    <a:gd name="T24" fmla="*/ 76 w 84"/>
                    <a:gd name="T25" fmla="*/ 0 h 84"/>
                    <a:gd name="T26" fmla="*/ 78 w 84"/>
                    <a:gd name="T27" fmla="*/ 0 h 84"/>
                    <a:gd name="T28" fmla="*/ 82 w 84"/>
                    <a:gd name="T29" fmla="*/ 2 h 84"/>
                    <a:gd name="T30" fmla="*/ 82 w 84"/>
                    <a:gd name="T31" fmla="*/ 2 h 84"/>
                    <a:gd name="T32" fmla="*/ 82 w 84"/>
                    <a:gd name="T33" fmla="*/ 4 h 84"/>
                    <a:gd name="T34" fmla="*/ 84 w 84"/>
                    <a:gd name="T35" fmla="*/ 8 h 84"/>
                    <a:gd name="T36" fmla="*/ 82 w 84"/>
                    <a:gd name="T37" fmla="*/ 10 h 84"/>
                    <a:gd name="T38" fmla="*/ 82 w 84"/>
                    <a:gd name="T39" fmla="*/ 14 h 84"/>
                    <a:gd name="T40" fmla="*/ 14 w 84"/>
                    <a:gd name="T41" fmla="*/ 80 h 84"/>
                    <a:gd name="T42" fmla="*/ 14 w 84"/>
                    <a:gd name="T43" fmla="*/ 80 h 84"/>
                    <a:gd name="T44" fmla="*/ 10 w 84"/>
                    <a:gd name="T45" fmla="*/ 82 h 84"/>
                    <a:gd name="T46" fmla="*/ 8 w 84"/>
                    <a:gd name="T47" fmla="*/ 84 h 84"/>
                    <a:gd name="T48" fmla="*/ 8 w 84"/>
                    <a:gd name="T4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4" h="84">
                      <a:moveTo>
                        <a:pt x="8" y="84"/>
                      </a:moveTo>
                      <a:lnTo>
                        <a:pt x="8" y="84"/>
                      </a:lnTo>
                      <a:lnTo>
                        <a:pt x="4" y="82"/>
                      </a:lnTo>
                      <a:lnTo>
                        <a:pt x="2" y="80"/>
                      </a:lnTo>
                      <a:lnTo>
                        <a:pt x="2" y="80"/>
                      </a:lnTo>
                      <a:lnTo>
                        <a:pt x="0" y="78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2" y="70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78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2" y="4"/>
                      </a:lnTo>
                      <a:lnTo>
                        <a:pt x="84" y="8"/>
                      </a:lnTo>
                      <a:lnTo>
                        <a:pt x="82" y="10"/>
                      </a:lnTo>
                      <a:lnTo>
                        <a:pt x="82" y="14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0" y="82"/>
                      </a:lnTo>
                      <a:lnTo>
                        <a:pt x="8" y="84"/>
                      </a:lnTo>
                      <a:lnTo>
                        <a:pt x="8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8" name="Freeform 362"/>
                <p:cNvSpPr>
                  <a:spLocks/>
                </p:cNvSpPr>
                <p:nvPr/>
              </p:nvSpPr>
              <p:spPr bwMode="auto">
                <a:xfrm>
                  <a:off x="2930525" y="3182938"/>
                  <a:ext cx="130175" cy="133350"/>
                </a:xfrm>
                <a:custGeom>
                  <a:avLst/>
                  <a:gdLst>
                    <a:gd name="T0" fmla="*/ 74 w 82"/>
                    <a:gd name="T1" fmla="*/ 84 h 84"/>
                    <a:gd name="T2" fmla="*/ 74 w 82"/>
                    <a:gd name="T3" fmla="*/ 84 h 84"/>
                    <a:gd name="T4" fmla="*/ 72 w 82"/>
                    <a:gd name="T5" fmla="*/ 84 h 84"/>
                    <a:gd name="T6" fmla="*/ 68 w 82"/>
                    <a:gd name="T7" fmla="*/ 82 h 84"/>
                    <a:gd name="T8" fmla="*/ 66 w 82"/>
                    <a:gd name="T9" fmla="*/ 80 h 84"/>
                    <a:gd name="T10" fmla="*/ 66 w 82"/>
                    <a:gd name="T11" fmla="*/ 76 h 84"/>
                    <a:gd name="T12" fmla="*/ 66 w 82"/>
                    <a:gd name="T13" fmla="*/ 16 h 84"/>
                    <a:gd name="T14" fmla="*/ 8 w 82"/>
                    <a:gd name="T15" fmla="*/ 18 h 84"/>
                    <a:gd name="T16" fmla="*/ 8 w 82"/>
                    <a:gd name="T17" fmla="*/ 18 h 84"/>
                    <a:gd name="T18" fmla="*/ 8 w 82"/>
                    <a:gd name="T19" fmla="*/ 18 h 84"/>
                    <a:gd name="T20" fmla="*/ 6 w 82"/>
                    <a:gd name="T21" fmla="*/ 16 h 84"/>
                    <a:gd name="T22" fmla="*/ 2 w 82"/>
                    <a:gd name="T23" fmla="*/ 14 h 84"/>
                    <a:gd name="T24" fmla="*/ 0 w 82"/>
                    <a:gd name="T25" fmla="*/ 12 h 84"/>
                    <a:gd name="T26" fmla="*/ 0 w 82"/>
                    <a:gd name="T27" fmla="*/ 8 h 84"/>
                    <a:gd name="T28" fmla="*/ 0 w 82"/>
                    <a:gd name="T29" fmla="*/ 8 h 84"/>
                    <a:gd name="T30" fmla="*/ 0 w 82"/>
                    <a:gd name="T31" fmla="*/ 6 h 84"/>
                    <a:gd name="T32" fmla="*/ 2 w 82"/>
                    <a:gd name="T33" fmla="*/ 4 h 84"/>
                    <a:gd name="T34" fmla="*/ 6 w 82"/>
                    <a:gd name="T35" fmla="*/ 2 h 84"/>
                    <a:gd name="T36" fmla="*/ 8 w 82"/>
                    <a:gd name="T37" fmla="*/ 0 h 84"/>
                    <a:gd name="T38" fmla="*/ 82 w 82"/>
                    <a:gd name="T39" fmla="*/ 0 h 84"/>
                    <a:gd name="T40" fmla="*/ 82 w 82"/>
                    <a:gd name="T41" fmla="*/ 76 h 84"/>
                    <a:gd name="T42" fmla="*/ 82 w 82"/>
                    <a:gd name="T43" fmla="*/ 76 h 84"/>
                    <a:gd name="T44" fmla="*/ 82 w 82"/>
                    <a:gd name="T45" fmla="*/ 80 h 84"/>
                    <a:gd name="T46" fmla="*/ 80 w 82"/>
                    <a:gd name="T47" fmla="*/ 82 h 84"/>
                    <a:gd name="T48" fmla="*/ 78 w 82"/>
                    <a:gd name="T49" fmla="*/ 84 h 84"/>
                    <a:gd name="T50" fmla="*/ 74 w 82"/>
                    <a:gd name="T51" fmla="*/ 84 h 84"/>
                    <a:gd name="T52" fmla="*/ 74 w 82"/>
                    <a:gd name="T53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82" h="84">
                      <a:moveTo>
                        <a:pt x="74" y="84"/>
                      </a:moveTo>
                      <a:lnTo>
                        <a:pt x="74" y="84"/>
                      </a:lnTo>
                      <a:lnTo>
                        <a:pt x="72" y="84"/>
                      </a:lnTo>
                      <a:lnTo>
                        <a:pt x="68" y="82"/>
                      </a:lnTo>
                      <a:lnTo>
                        <a:pt x="66" y="80"/>
                      </a:lnTo>
                      <a:lnTo>
                        <a:pt x="66" y="76"/>
                      </a:lnTo>
                      <a:lnTo>
                        <a:pt x="66" y="16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6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82" y="0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80" y="82"/>
                      </a:lnTo>
                      <a:lnTo>
                        <a:pt x="78" y="84"/>
                      </a:lnTo>
                      <a:lnTo>
                        <a:pt x="74" y="84"/>
                      </a:lnTo>
                      <a:lnTo>
                        <a:pt x="74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9" name="Freeform 363"/>
                <p:cNvSpPr>
                  <a:spLocks noEditPoints="1"/>
                </p:cNvSpPr>
                <p:nvPr/>
              </p:nvSpPr>
              <p:spPr bwMode="auto">
                <a:xfrm>
                  <a:off x="2924175" y="3338513"/>
                  <a:ext cx="114300" cy="123825"/>
                </a:xfrm>
                <a:custGeom>
                  <a:avLst/>
                  <a:gdLst>
                    <a:gd name="T0" fmla="*/ 36 w 72"/>
                    <a:gd name="T1" fmla="*/ 78 h 78"/>
                    <a:gd name="T2" fmla="*/ 36 w 72"/>
                    <a:gd name="T3" fmla="*/ 78 h 78"/>
                    <a:gd name="T4" fmla="*/ 28 w 72"/>
                    <a:gd name="T5" fmla="*/ 78 h 78"/>
                    <a:gd name="T6" fmla="*/ 22 w 72"/>
                    <a:gd name="T7" fmla="*/ 76 h 78"/>
                    <a:gd name="T8" fmla="*/ 16 w 72"/>
                    <a:gd name="T9" fmla="*/ 72 h 78"/>
                    <a:gd name="T10" fmla="*/ 10 w 72"/>
                    <a:gd name="T11" fmla="*/ 66 h 78"/>
                    <a:gd name="T12" fmla="*/ 6 w 72"/>
                    <a:gd name="T13" fmla="*/ 62 h 78"/>
                    <a:gd name="T14" fmla="*/ 2 w 72"/>
                    <a:gd name="T15" fmla="*/ 54 h 78"/>
                    <a:gd name="T16" fmla="*/ 0 w 72"/>
                    <a:gd name="T17" fmla="*/ 48 h 78"/>
                    <a:gd name="T18" fmla="*/ 0 w 72"/>
                    <a:gd name="T19" fmla="*/ 40 h 78"/>
                    <a:gd name="T20" fmla="*/ 0 w 72"/>
                    <a:gd name="T21" fmla="*/ 40 h 78"/>
                    <a:gd name="T22" fmla="*/ 0 w 72"/>
                    <a:gd name="T23" fmla="*/ 32 h 78"/>
                    <a:gd name="T24" fmla="*/ 2 w 72"/>
                    <a:gd name="T25" fmla="*/ 24 h 78"/>
                    <a:gd name="T26" fmla="*/ 6 w 72"/>
                    <a:gd name="T27" fmla="*/ 18 h 78"/>
                    <a:gd name="T28" fmla="*/ 10 w 72"/>
                    <a:gd name="T29" fmla="*/ 12 h 78"/>
                    <a:gd name="T30" fmla="*/ 16 w 72"/>
                    <a:gd name="T31" fmla="*/ 8 h 78"/>
                    <a:gd name="T32" fmla="*/ 22 w 72"/>
                    <a:gd name="T33" fmla="*/ 4 h 78"/>
                    <a:gd name="T34" fmla="*/ 28 w 72"/>
                    <a:gd name="T35" fmla="*/ 2 h 78"/>
                    <a:gd name="T36" fmla="*/ 36 w 72"/>
                    <a:gd name="T37" fmla="*/ 0 h 78"/>
                    <a:gd name="T38" fmla="*/ 36 w 72"/>
                    <a:gd name="T39" fmla="*/ 0 h 78"/>
                    <a:gd name="T40" fmla="*/ 42 w 72"/>
                    <a:gd name="T41" fmla="*/ 2 h 78"/>
                    <a:gd name="T42" fmla="*/ 50 w 72"/>
                    <a:gd name="T43" fmla="*/ 4 h 78"/>
                    <a:gd name="T44" fmla="*/ 56 w 72"/>
                    <a:gd name="T45" fmla="*/ 8 h 78"/>
                    <a:gd name="T46" fmla="*/ 60 w 72"/>
                    <a:gd name="T47" fmla="*/ 12 h 78"/>
                    <a:gd name="T48" fmla="*/ 66 w 72"/>
                    <a:gd name="T49" fmla="*/ 18 h 78"/>
                    <a:gd name="T50" fmla="*/ 68 w 72"/>
                    <a:gd name="T51" fmla="*/ 24 h 78"/>
                    <a:gd name="T52" fmla="*/ 70 w 72"/>
                    <a:gd name="T53" fmla="*/ 32 h 78"/>
                    <a:gd name="T54" fmla="*/ 72 w 72"/>
                    <a:gd name="T55" fmla="*/ 40 h 78"/>
                    <a:gd name="T56" fmla="*/ 72 w 72"/>
                    <a:gd name="T57" fmla="*/ 40 h 78"/>
                    <a:gd name="T58" fmla="*/ 70 w 72"/>
                    <a:gd name="T59" fmla="*/ 48 h 78"/>
                    <a:gd name="T60" fmla="*/ 68 w 72"/>
                    <a:gd name="T61" fmla="*/ 54 h 78"/>
                    <a:gd name="T62" fmla="*/ 66 w 72"/>
                    <a:gd name="T63" fmla="*/ 62 h 78"/>
                    <a:gd name="T64" fmla="*/ 60 w 72"/>
                    <a:gd name="T65" fmla="*/ 66 h 78"/>
                    <a:gd name="T66" fmla="*/ 56 w 72"/>
                    <a:gd name="T67" fmla="*/ 72 h 78"/>
                    <a:gd name="T68" fmla="*/ 50 w 72"/>
                    <a:gd name="T69" fmla="*/ 76 h 78"/>
                    <a:gd name="T70" fmla="*/ 42 w 72"/>
                    <a:gd name="T71" fmla="*/ 78 h 78"/>
                    <a:gd name="T72" fmla="*/ 36 w 72"/>
                    <a:gd name="T73" fmla="*/ 78 h 78"/>
                    <a:gd name="T74" fmla="*/ 36 w 72"/>
                    <a:gd name="T75" fmla="*/ 78 h 78"/>
                    <a:gd name="T76" fmla="*/ 36 w 72"/>
                    <a:gd name="T77" fmla="*/ 16 h 78"/>
                    <a:gd name="T78" fmla="*/ 36 w 72"/>
                    <a:gd name="T79" fmla="*/ 16 h 78"/>
                    <a:gd name="T80" fmla="*/ 28 w 72"/>
                    <a:gd name="T81" fmla="*/ 18 h 78"/>
                    <a:gd name="T82" fmla="*/ 22 w 72"/>
                    <a:gd name="T83" fmla="*/ 24 h 78"/>
                    <a:gd name="T84" fmla="*/ 18 w 72"/>
                    <a:gd name="T85" fmla="*/ 30 h 78"/>
                    <a:gd name="T86" fmla="*/ 16 w 72"/>
                    <a:gd name="T87" fmla="*/ 40 h 78"/>
                    <a:gd name="T88" fmla="*/ 16 w 72"/>
                    <a:gd name="T89" fmla="*/ 40 h 78"/>
                    <a:gd name="T90" fmla="*/ 18 w 72"/>
                    <a:gd name="T91" fmla="*/ 48 h 78"/>
                    <a:gd name="T92" fmla="*/ 22 w 72"/>
                    <a:gd name="T93" fmla="*/ 56 h 78"/>
                    <a:gd name="T94" fmla="*/ 28 w 72"/>
                    <a:gd name="T95" fmla="*/ 60 h 78"/>
                    <a:gd name="T96" fmla="*/ 36 w 72"/>
                    <a:gd name="T97" fmla="*/ 62 h 78"/>
                    <a:gd name="T98" fmla="*/ 36 w 72"/>
                    <a:gd name="T99" fmla="*/ 62 h 78"/>
                    <a:gd name="T100" fmla="*/ 42 w 72"/>
                    <a:gd name="T101" fmla="*/ 60 h 78"/>
                    <a:gd name="T102" fmla="*/ 50 w 72"/>
                    <a:gd name="T103" fmla="*/ 56 h 78"/>
                    <a:gd name="T104" fmla="*/ 54 w 72"/>
                    <a:gd name="T105" fmla="*/ 48 h 78"/>
                    <a:gd name="T106" fmla="*/ 54 w 72"/>
                    <a:gd name="T107" fmla="*/ 40 h 78"/>
                    <a:gd name="T108" fmla="*/ 54 w 72"/>
                    <a:gd name="T109" fmla="*/ 40 h 78"/>
                    <a:gd name="T110" fmla="*/ 54 w 72"/>
                    <a:gd name="T111" fmla="*/ 30 h 78"/>
                    <a:gd name="T112" fmla="*/ 50 w 72"/>
                    <a:gd name="T113" fmla="*/ 24 h 78"/>
                    <a:gd name="T114" fmla="*/ 42 w 72"/>
                    <a:gd name="T115" fmla="*/ 18 h 78"/>
                    <a:gd name="T116" fmla="*/ 36 w 72"/>
                    <a:gd name="T117" fmla="*/ 16 h 78"/>
                    <a:gd name="T118" fmla="*/ 36 w 72"/>
                    <a:gd name="T119" fmla="*/ 16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2" h="78">
                      <a:moveTo>
                        <a:pt x="36" y="78"/>
                      </a:moveTo>
                      <a:lnTo>
                        <a:pt x="36" y="78"/>
                      </a:lnTo>
                      <a:lnTo>
                        <a:pt x="28" y="78"/>
                      </a:lnTo>
                      <a:lnTo>
                        <a:pt x="22" y="76"/>
                      </a:lnTo>
                      <a:lnTo>
                        <a:pt x="16" y="72"/>
                      </a:lnTo>
                      <a:lnTo>
                        <a:pt x="10" y="66"/>
                      </a:lnTo>
                      <a:lnTo>
                        <a:pt x="6" y="62"/>
                      </a:lnTo>
                      <a:lnTo>
                        <a:pt x="2" y="54"/>
                      </a:lnTo>
                      <a:lnTo>
                        <a:pt x="0" y="48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2" y="24"/>
                      </a:lnTo>
                      <a:lnTo>
                        <a:pt x="6" y="18"/>
                      </a:lnTo>
                      <a:lnTo>
                        <a:pt x="10" y="12"/>
                      </a:lnTo>
                      <a:lnTo>
                        <a:pt x="16" y="8"/>
                      </a:lnTo>
                      <a:lnTo>
                        <a:pt x="22" y="4"/>
                      </a:lnTo>
                      <a:lnTo>
                        <a:pt x="28" y="2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42" y="2"/>
                      </a:lnTo>
                      <a:lnTo>
                        <a:pt x="50" y="4"/>
                      </a:lnTo>
                      <a:lnTo>
                        <a:pt x="56" y="8"/>
                      </a:lnTo>
                      <a:lnTo>
                        <a:pt x="60" y="12"/>
                      </a:lnTo>
                      <a:lnTo>
                        <a:pt x="66" y="18"/>
                      </a:lnTo>
                      <a:lnTo>
                        <a:pt x="68" y="24"/>
                      </a:lnTo>
                      <a:lnTo>
                        <a:pt x="70" y="32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0" y="48"/>
                      </a:lnTo>
                      <a:lnTo>
                        <a:pt x="68" y="54"/>
                      </a:lnTo>
                      <a:lnTo>
                        <a:pt x="66" y="62"/>
                      </a:lnTo>
                      <a:lnTo>
                        <a:pt x="60" y="66"/>
                      </a:lnTo>
                      <a:lnTo>
                        <a:pt x="56" y="72"/>
                      </a:lnTo>
                      <a:lnTo>
                        <a:pt x="50" y="76"/>
                      </a:lnTo>
                      <a:lnTo>
                        <a:pt x="42" y="78"/>
                      </a:lnTo>
                      <a:lnTo>
                        <a:pt x="36" y="78"/>
                      </a:lnTo>
                      <a:lnTo>
                        <a:pt x="36" y="78"/>
                      </a:lnTo>
                      <a:close/>
                      <a:moveTo>
                        <a:pt x="36" y="16"/>
                      </a:moveTo>
                      <a:lnTo>
                        <a:pt x="36" y="16"/>
                      </a:lnTo>
                      <a:lnTo>
                        <a:pt x="28" y="18"/>
                      </a:lnTo>
                      <a:lnTo>
                        <a:pt x="22" y="24"/>
                      </a:lnTo>
                      <a:lnTo>
                        <a:pt x="18" y="3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8" y="48"/>
                      </a:lnTo>
                      <a:lnTo>
                        <a:pt x="22" y="56"/>
                      </a:lnTo>
                      <a:lnTo>
                        <a:pt x="28" y="60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42" y="60"/>
                      </a:lnTo>
                      <a:lnTo>
                        <a:pt x="50" y="56"/>
                      </a:lnTo>
                      <a:lnTo>
                        <a:pt x="54" y="48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4" y="30"/>
                      </a:lnTo>
                      <a:lnTo>
                        <a:pt x="50" y="24"/>
                      </a:lnTo>
                      <a:lnTo>
                        <a:pt x="42" y="18"/>
                      </a:lnTo>
                      <a:lnTo>
                        <a:pt x="36" y="16"/>
                      </a:lnTo>
                      <a:lnTo>
                        <a:pt x="36" y="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40" name="Freeform 364"/>
                <p:cNvSpPr>
                  <a:spLocks/>
                </p:cNvSpPr>
                <p:nvPr/>
              </p:nvSpPr>
              <p:spPr bwMode="auto">
                <a:xfrm>
                  <a:off x="2863850" y="3436938"/>
                  <a:ext cx="222250" cy="171450"/>
                </a:xfrm>
                <a:custGeom>
                  <a:avLst/>
                  <a:gdLst>
                    <a:gd name="T0" fmla="*/ 8 w 140"/>
                    <a:gd name="T1" fmla="*/ 108 h 108"/>
                    <a:gd name="T2" fmla="*/ 4 w 140"/>
                    <a:gd name="T3" fmla="*/ 106 h 108"/>
                    <a:gd name="T4" fmla="*/ 0 w 140"/>
                    <a:gd name="T5" fmla="*/ 100 h 108"/>
                    <a:gd name="T6" fmla="*/ 0 w 140"/>
                    <a:gd name="T7" fmla="*/ 90 h 108"/>
                    <a:gd name="T8" fmla="*/ 6 w 140"/>
                    <a:gd name="T9" fmla="*/ 54 h 108"/>
                    <a:gd name="T10" fmla="*/ 18 w 140"/>
                    <a:gd name="T11" fmla="*/ 28 h 108"/>
                    <a:gd name="T12" fmla="*/ 28 w 140"/>
                    <a:gd name="T13" fmla="*/ 16 h 108"/>
                    <a:gd name="T14" fmla="*/ 46 w 140"/>
                    <a:gd name="T15" fmla="*/ 4 h 108"/>
                    <a:gd name="T16" fmla="*/ 68 w 140"/>
                    <a:gd name="T17" fmla="*/ 0 h 108"/>
                    <a:gd name="T18" fmla="*/ 72 w 140"/>
                    <a:gd name="T19" fmla="*/ 0 h 108"/>
                    <a:gd name="T20" fmla="*/ 94 w 140"/>
                    <a:gd name="T21" fmla="*/ 4 h 108"/>
                    <a:gd name="T22" fmla="*/ 114 w 140"/>
                    <a:gd name="T23" fmla="*/ 16 h 108"/>
                    <a:gd name="T24" fmla="*/ 122 w 140"/>
                    <a:gd name="T25" fmla="*/ 28 h 108"/>
                    <a:gd name="T26" fmla="*/ 134 w 140"/>
                    <a:gd name="T27" fmla="*/ 54 h 108"/>
                    <a:gd name="T28" fmla="*/ 140 w 140"/>
                    <a:gd name="T29" fmla="*/ 90 h 108"/>
                    <a:gd name="T30" fmla="*/ 140 w 140"/>
                    <a:gd name="T31" fmla="*/ 100 h 108"/>
                    <a:gd name="T32" fmla="*/ 138 w 140"/>
                    <a:gd name="T33" fmla="*/ 106 h 108"/>
                    <a:gd name="T34" fmla="*/ 132 w 140"/>
                    <a:gd name="T35" fmla="*/ 108 h 108"/>
                    <a:gd name="T36" fmla="*/ 128 w 140"/>
                    <a:gd name="T37" fmla="*/ 108 h 108"/>
                    <a:gd name="T38" fmla="*/ 124 w 140"/>
                    <a:gd name="T39" fmla="*/ 102 h 108"/>
                    <a:gd name="T40" fmla="*/ 124 w 140"/>
                    <a:gd name="T41" fmla="*/ 100 h 108"/>
                    <a:gd name="T42" fmla="*/ 120 w 140"/>
                    <a:gd name="T43" fmla="*/ 72 h 108"/>
                    <a:gd name="T44" fmla="*/ 114 w 140"/>
                    <a:gd name="T45" fmla="*/ 48 h 108"/>
                    <a:gd name="T46" fmla="*/ 102 w 140"/>
                    <a:gd name="T47" fmla="*/ 28 h 108"/>
                    <a:gd name="T48" fmla="*/ 96 w 140"/>
                    <a:gd name="T49" fmla="*/ 24 h 108"/>
                    <a:gd name="T50" fmla="*/ 80 w 140"/>
                    <a:gd name="T51" fmla="*/ 18 h 108"/>
                    <a:gd name="T52" fmla="*/ 68 w 140"/>
                    <a:gd name="T53" fmla="*/ 16 h 108"/>
                    <a:gd name="T54" fmla="*/ 60 w 140"/>
                    <a:gd name="T55" fmla="*/ 18 h 108"/>
                    <a:gd name="T56" fmla="*/ 46 w 140"/>
                    <a:gd name="T57" fmla="*/ 24 h 108"/>
                    <a:gd name="T58" fmla="*/ 38 w 140"/>
                    <a:gd name="T59" fmla="*/ 28 h 108"/>
                    <a:gd name="T60" fmla="*/ 26 w 140"/>
                    <a:gd name="T61" fmla="*/ 48 h 108"/>
                    <a:gd name="T62" fmla="*/ 20 w 140"/>
                    <a:gd name="T63" fmla="*/ 72 h 108"/>
                    <a:gd name="T64" fmla="*/ 18 w 140"/>
                    <a:gd name="T65" fmla="*/ 100 h 108"/>
                    <a:gd name="T66" fmla="*/ 16 w 140"/>
                    <a:gd name="T67" fmla="*/ 102 h 108"/>
                    <a:gd name="T68" fmla="*/ 12 w 140"/>
                    <a:gd name="T69" fmla="*/ 108 h 108"/>
                    <a:gd name="T70" fmla="*/ 8 w 140"/>
                    <a:gd name="T71" fmla="*/ 108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0" h="108">
                      <a:moveTo>
                        <a:pt x="8" y="108"/>
                      </a:moveTo>
                      <a:lnTo>
                        <a:pt x="8" y="108"/>
                      </a:lnTo>
                      <a:lnTo>
                        <a:pt x="6" y="108"/>
                      </a:lnTo>
                      <a:lnTo>
                        <a:pt x="4" y="106"/>
                      </a:lnTo>
                      <a:lnTo>
                        <a:pt x="2" y="102"/>
                      </a:lnTo>
                      <a:lnTo>
                        <a:pt x="0" y="100"/>
                      </a:lnTo>
                      <a:lnTo>
                        <a:pt x="0" y="100"/>
                      </a:lnTo>
                      <a:lnTo>
                        <a:pt x="0" y="90"/>
                      </a:lnTo>
                      <a:lnTo>
                        <a:pt x="4" y="68"/>
                      </a:lnTo>
                      <a:lnTo>
                        <a:pt x="6" y="54"/>
                      </a:lnTo>
                      <a:lnTo>
                        <a:pt x="12" y="42"/>
                      </a:lnTo>
                      <a:lnTo>
                        <a:pt x="18" y="28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6" y="10"/>
                      </a:lnTo>
                      <a:lnTo>
                        <a:pt x="46" y="4"/>
                      </a:lnTo>
                      <a:lnTo>
                        <a:pt x="56" y="2"/>
                      </a:lnTo>
                      <a:lnTo>
                        <a:pt x="68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84" y="2"/>
                      </a:lnTo>
                      <a:lnTo>
                        <a:pt x="94" y="4"/>
                      </a:lnTo>
                      <a:lnTo>
                        <a:pt x="104" y="10"/>
                      </a:lnTo>
                      <a:lnTo>
                        <a:pt x="114" y="16"/>
                      </a:lnTo>
                      <a:lnTo>
                        <a:pt x="114" y="16"/>
                      </a:lnTo>
                      <a:lnTo>
                        <a:pt x="122" y="28"/>
                      </a:lnTo>
                      <a:lnTo>
                        <a:pt x="128" y="42"/>
                      </a:lnTo>
                      <a:lnTo>
                        <a:pt x="134" y="54"/>
                      </a:lnTo>
                      <a:lnTo>
                        <a:pt x="136" y="68"/>
                      </a:lnTo>
                      <a:lnTo>
                        <a:pt x="140" y="90"/>
                      </a:lnTo>
                      <a:lnTo>
                        <a:pt x="140" y="100"/>
                      </a:lnTo>
                      <a:lnTo>
                        <a:pt x="140" y="100"/>
                      </a:lnTo>
                      <a:lnTo>
                        <a:pt x="140" y="102"/>
                      </a:lnTo>
                      <a:lnTo>
                        <a:pt x="138" y="106"/>
                      </a:lnTo>
                      <a:lnTo>
                        <a:pt x="134" y="108"/>
                      </a:lnTo>
                      <a:lnTo>
                        <a:pt x="132" y="108"/>
                      </a:lnTo>
                      <a:lnTo>
                        <a:pt x="132" y="108"/>
                      </a:lnTo>
                      <a:lnTo>
                        <a:pt x="128" y="108"/>
                      </a:lnTo>
                      <a:lnTo>
                        <a:pt x="126" y="106"/>
                      </a:lnTo>
                      <a:lnTo>
                        <a:pt x="124" y="102"/>
                      </a:lnTo>
                      <a:lnTo>
                        <a:pt x="124" y="100"/>
                      </a:lnTo>
                      <a:lnTo>
                        <a:pt x="124" y="100"/>
                      </a:lnTo>
                      <a:lnTo>
                        <a:pt x="124" y="92"/>
                      </a:lnTo>
                      <a:lnTo>
                        <a:pt x="120" y="72"/>
                      </a:lnTo>
                      <a:lnTo>
                        <a:pt x="118" y="60"/>
                      </a:lnTo>
                      <a:lnTo>
                        <a:pt x="114" y="48"/>
                      </a:lnTo>
                      <a:lnTo>
                        <a:pt x="108" y="38"/>
                      </a:lnTo>
                      <a:lnTo>
                        <a:pt x="102" y="28"/>
                      </a:lnTo>
                      <a:lnTo>
                        <a:pt x="102" y="28"/>
                      </a:lnTo>
                      <a:lnTo>
                        <a:pt x="96" y="24"/>
                      </a:lnTo>
                      <a:lnTo>
                        <a:pt x="88" y="20"/>
                      </a:lnTo>
                      <a:lnTo>
                        <a:pt x="80" y="18"/>
                      </a:lnTo>
                      <a:lnTo>
                        <a:pt x="72" y="16"/>
                      </a:lnTo>
                      <a:lnTo>
                        <a:pt x="68" y="16"/>
                      </a:lnTo>
                      <a:lnTo>
                        <a:pt x="68" y="16"/>
                      </a:lnTo>
                      <a:lnTo>
                        <a:pt x="60" y="18"/>
                      </a:lnTo>
                      <a:lnTo>
                        <a:pt x="52" y="20"/>
                      </a:lnTo>
                      <a:lnTo>
                        <a:pt x="46" y="24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2" y="38"/>
                      </a:lnTo>
                      <a:lnTo>
                        <a:pt x="26" y="48"/>
                      </a:lnTo>
                      <a:lnTo>
                        <a:pt x="22" y="60"/>
                      </a:lnTo>
                      <a:lnTo>
                        <a:pt x="20" y="72"/>
                      </a:lnTo>
                      <a:lnTo>
                        <a:pt x="18" y="92"/>
                      </a:lnTo>
                      <a:lnTo>
                        <a:pt x="18" y="100"/>
                      </a:lnTo>
                      <a:lnTo>
                        <a:pt x="18" y="100"/>
                      </a:lnTo>
                      <a:lnTo>
                        <a:pt x="16" y="102"/>
                      </a:lnTo>
                      <a:lnTo>
                        <a:pt x="14" y="106"/>
                      </a:lnTo>
                      <a:lnTo>
                        <a:pt x="12" y="108"/>
                      </a:lnTo>
                      <a:lnTo>
                        <a:pt x="10" y="108"/>
                      </a:lnTo>
                      <a:lnTo>
                        <a:pt x="8" y="10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</p:grpSp>
        </p:grpSp>
        <p:grpSp>
          <p:nvGrpSpPr>
            <p:cNvPr id="117" name="Group 342"/>
            <p:cNvGrpSpPr/>
            <p:nvPr/>
          </p:nvGrpSpPr>
          <p:grpSpPr>
            <a:xfrm>
              <a:off x="3279461" y="2440942"/>
              <a:ext cx="728471" cy="728470"/>
              <a:chOff x="3363004" y="960002"/>
              <a:chExt cx="564063" cy="564063"/>
            </a:xfrm>
          </p:grpSpPr>
          <p:sp>
            <p:nvSpPr>
              <p:cNvPr id="124" name="Rounded Rectangle 123"/>
              <p:cNvSpPr/>
              <p:nvPr/>
            </p:nvSpPr>
            <p:spPr>
              <a:xfrm>
                <a:off x="3363004" y="960002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latin typeface="+mj-lt"/>
                </a:endParaRPr>
              </a:p>
            </p:txBody>
          </p:sp>
          <p:grpSp>
            <p:nvGrpSpPr>
              <p:cNvPr id="119" name="Group 344"/>
              <p:cNvGrpSpPr/>
              <p:nvPr/>
            </p:nvGrpSpPr>
            <p:grpSpPr>
              <a:xfrm>
                <a:off x="3447494" y="1037273"/>
                <a:ext cx="403225" cy="415925"/>
                <a:chOff x="3444875" y="2605088"/>
                <a:chExt cx="403225" cy="415925"/>
              </a:xfrm>
            </p:grpSpPr>
            <p:sp>
              <p:nvSpPr>
                <p:cNvPr id="126" name="Freeform 365"/>
                <p:cNvSpPr>
                  <a:spLocks noEditPoints="1"/>
                </p:cNvSpPr>
                <p:nvPr/>
              </p:nvSpPr>
              <p:spPr bwMode="auto">
                <a:xfrm>
                  <a:off x="3444875" y="2605088"/>
                  <a:ext cx="168275" cy="168275"/>
                </a:xfrm>
                <a:custGeom>
                  <a:avLst/>
                  <a:gdLst>
                    <a:gd name="T0" fmla="*/ 86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6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8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88 h 106"/>
                    <a:gd name="T40" fmla="*/ 106 w 106"/>
                    <a:gd name="T41" fmla="*/ 88 h 106"/>
                    <a:gd name="T42" fmla="*/ 104 w 106"/>
                    <a:gd name="T43" fmla="*/ 94 h 106"/>
                    <a:gd name="T44" fmla="*/ 100 w 106"/>
                    <a:gd name="T45" fmla="*/ 100 h 106"/>
                    <a:gd name="T46" fmla="*/ 94 w 106"/>
                    <a:gd name="T47" fmla="*/ 106 h 106"/>
                    <a:gd name="T48" fmla="*/ 86 w 106"/>
                    <a:gd name="T49" fmla="*/ 106 h 106"/>
                    <a:gd name="T50" fmla="*/ 86 w 106"/>
                    <a:gd name="T51" fmla="*/ 106 h 106"/>
                    <a:gd name="T52" fmla="*/ 20 w 106"/>
                    <a:gd name="T53" fmla="*/ 18 h 106"/>
                    <a:gd name="T54" fmla="*/ 20 w 106"/>
                    <a:gd name="T55" fmla="*/ 18 h 106"/>
                    <a:gd name="T56" fmla="*/ 16 w 106"/>
                    <a:gd name="T57" fmla="*/ 18 h 106"/>
                    <a:gd name="T58" fmla="*/ 16 w 106"/>
                    <a:gd name="T59" fmla="*/ 20 h 106"/>
                    <a:gd name="T60" fmla="*/ 16 w 106"/>
                    <a:gd name="T61" fmla="*/ 88 h 106"/>
                    <a:gd name="T62" fmla="*/ 16 w 106"/>
                    <a:gd name="T63" fmla="*/ 88 h 106"/>
                    <a:gd name="T64" fmla="*/ 16 w 106"/>
                    <a:gd name="T65" fmla="*/ 90 h 106"/>
                    <a:gd name="T66" fmla="*/ 20 w 106"/>
                    <a:gd name="T67" fmla="*/ 90 h 106"/>
                    <a:gd name="T68" fmla="*/ 86 w 106"/>
                    <a:gd name="T69" fmla="*/ 90 h 106"/>
                    <a:gd name="T70" fmla="*/ 86 w 106"/>
                    <a:gd name="T71" fmla="*/ 90 h 106"/>
                    <a:gd name="T72" fmla="*/ 88 w 106"/>
                    <a:gd name="T73" fmla="*/ 90 h 106"/>
                    <a:gd name="T74" fmla="*/ 90 w 106"/>
                    <a:gd name="T75" fmla="*/ 88 h 106"/>
                    <a:gd name="T76" fmla="*/ 90 w 106"/>
                    <a:gd name="T77" fmla="*/ 20 h 106"/>
                    <a:gd name="T78" fmla="*/ 90 w 106"/>
                    <a:gd name="T79" fmla="*/ 20 h 106"/>
                    <a:gd name="T80" fmla="*/ 88 w 106"/>
                    <a:gd name="T81" fmla="*/ 18 h 106"/>
                    <a:gd name="T82" fmla="*/ 86 w 106"/>
                    <a:gd name="T83" fmla="*/ 18 h 106"/>
                    <a:gd name="T84" fmla="*/ 20 w 106"/>
                    <a:gd name="T85" fmla="*/ 1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6" h="106">
                      <a:moveTo>
                        <a:pt x="86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6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88"/>
                      </a:lnTo>
                      <a:lnTo>
                        <a:pt x="106" y="88"/>
                      </a:lnTo>
                      <a:lnTo>
                        <a:pt x="104" y="94"/>
                      </a:lnTo>
                      <a:lnTo>
                        <a:pt x="100" y="100"/>
                      </a:lnTo>
                      <a:lnTo>
                        <a:pt x="94" y="106"/>
                      </a:lnTo>
                      <a:lnTo>
                        <a:pt x="86" y="106"/>
                      </a:lnTo>
                      <a:lnTo>
                        <a:pt x="86" y="106"/>
                      </a:lnTo>
                      <a:close/>
                      <a:moveTo>
                        <a:pt x="20" y="18"/>
                      </a:moveTo>
                      <a:lnTo>
                        <a:pt x="20" y="18"/>
                      </a:lnTo>
                      <a:lnTo>
                        <a:pt x="16" y="18"/>
                      </a:lnTo>
                      <a:lnTo>
                        <a:pt x="16" y="20"/>
                      </a:lnTo>
                      <a:lnTo>
                        <a:pt x="16" y="88"/>
                      </a:lnTo>
                      <a:lnTo>
                        <a:pt x="16" y="88"/>
                      </a:lnTo>
                      <a:lnTo>
                        <a:pt x="16" y="90"/>
                      </a:lnTo>
                      <a:lnTo>
                        <a:pt x="20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90" y="88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8"/>
                      </a:lnTo>
                      <a:lnTo>
                        <a:pt x="20" y="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7" name="Freeform 366"/>
                <p:cNvSpPr>
                  <a:spLocks noEditPoints="1"/>
                </p:cNvSpPr>
                <p:nvPr/>
              </p:nvSpPr>
              <p:spPr bwMode="auto">
                <a:xfrm>
                  <a:off x="3679825" y="2605088"/>
                  <a:ext cx="168275" cy="168275"/>
                </a:xfrm>
                <a:custGeom>
                  <a:avLst/>
                  <a:gdLst>
                    <a:gd name="T0" fmla="*/ 86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6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8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88 h 106"/>
                    <a:gd name="T40" fmla="*/ 106 w 106"/>
                    <a:gd name="T41" fmla="*/ 88 h 106"/>
                    <a:gd name="T42" fmla="*/ 104 w 106"/>
                    <a:gd name="T43" fmla="*/ 94 h 106"/>
                    <a:gd name="T44" fmla="*/ 100 w 106"/>
                    <a:gd name="T45" fmla="*/ 100 h 106"/>
                    <a:gd name="T46" fmla="*/ 94 w 106"/>
                    <a:gd name="T47" fmla="*/ 106 h 106"/>
                    <a:gd name="T48" fmla="*/ 86 w 106"/>
                    <a:gd name="T49" fmla="*/ 106 h 106"/>
                    <a:gd name="T50" fmla="*/ 86 w 106"/>
                    <a:gd name="T51" fmla="*/ 106 h 106"/>
                    <a:gd name="T52" fmla="*/ 20 w 106"/>
                    <a:gd name="T53" fmla="*/ 18 h 106"/>
                    <a:gd name="T54" fmla="*/ 20 w 106"/>
                    <a:gd name="T55" fmla="*/ 18 h 106"/>
                    <a:gd name="T56" fmla="*/ 18 w 106"/>
                    <a:gd name="T57" fmla="*/ 18 h 106"/>
                    <a:gd name="T58" fmla="*/ 16 w 106"/>
                    <a:gd name="T59" fmla="*/ 20 h 106"/>
                    <a:gd name="T60" fmla="*/ 16 w 106"/>
                    <a:gd name="T61" fmla="*/ 88 h 106"/>
                    <a:gd name="T62" fmla="*/ 16 w 106"/>
                    <a:gd name="T63" fmla="*/ 88 h 106"/>
                    <a:gd name="T64" fmla="*/ 18 w 106"/>
                    <a:gd name="T65" fmla="*/ 90 h 106"/>
                    <a:gd name="T66" fmla="*/ 20 w 106"/>
                    <a:gd name="T67" fmla="*/ 90 h 106"/>
                    <a:gd name="T68" fmla="*/ 86 w 106"/>
                    <a:gd name="T69" fmla="*/ 90 h 106"/>
                    <a:gd name="T70" fmla="*/ 86 w 106"/>
                    <a:gd name="T71" fmla="*/ 90 h 106"/>
                    <a:gd name="T72" fmla="*/ 88 w 106"/>
                    <a:gd name="T73" fmla="*/ 90 h 106"/>
                    <a:gd name="T74" fmla="*/ 90 w 106"/>
                    <a:gd name="T75" fmla="*/ 88 h 106"/>
                    <a:gd name="T76" fmla="*/ 90 w 106"/>
                    <a:gd name="T77" fmla="*/ 20 h 106"/>
                    <a:gd name="T78" fmla="*/ 90 w 106"/>
                    <a:gd name="T79" fmla="*/ 20 h 106"/>
                    <a:gd name="T80" fmla="*/ 88 w 106"/>
                    <a:gd name="T81" fmla="*/ 18 h 106"/>
                    <a:gd name="T82" fmla="*/ 86 w 106"/>
                    <a:gd name="T83" fmla="*/ 18 h 106"/>
                    <a:gd name="T84" fmla="*/ 20 w 106"/>
                    <a:gd name="T85" fmla="*/ 1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6" h="106">
                      <a:moveTo>
                        <a:pt x="86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6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8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88"/>
                      </a:lnTo>
                      <a:lnTo>
                        <a:pt x="106" y="88"/>
                      </a:lnTo>
                      <a:lnTo>
                        <a:pt x="104" y="94"/>
                      </a:lnTo>
                      <a:lnTo>
                        <a:pt x="100" y="100"/>
                      </a:lnTo>
                      <a:lnTo>
                        <a:pt x="94" y="106"/>
                      </a:lnTo>
                      <a:lnTo>
                        <a:pt x="86" y="106"/>
                      </a:lnTo>
                      <a:lnTo>
                        <a:pt x="86" y="106"/>
                      </a:lnTo>
                      <a:close/>
                      <a:moveTo>
                        <a:pt x="20" y="18"/>
                      </a:moveTo>
                      <a:lnTo>
                        <a:pt x="20" y="18"/>
                      </a:lnTo>
                      <a:lnTo>
                        <a:pt x="18" y="18"/>
                      </a:lnTo>
                      <a:lnTo>
                        <a:pt x="16" y="20"/>
                      </a:lnTo>
                      <a:lnTo>
                        <a:pt x="16" y="88"/>
                      </a:lnTo>
                      <a:lnTo>
                        <a:pt x="16" y="88"/>
                      </a:lnTo>
                      <a:lnTo>
                        <a:pt x="18" y="90"/>
                      </a:lnTo>
                      <a:lnTo>
                        <a:pt x="20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lnTo>
                        <a:pt x="88" y="90"/>
                      </a:lnTo>
                      <a:lnTo>
                        <a:pt x="90" y="88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8"/>
                      </a:lnTo>
                      <a:lnTo>
                        <a:pt x="20" y="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8" name="Freeform 367"/>
                <p:cNvSpPr>
                  <a:spLocks/>
                </p:cNvSpPr>
                <p:nvPr/>
              </p:nvSpPr>
              <p:spPr bwMode="auto">
                <a:xfrm>
                  <a:off x="3562350" y="2852738"/>
                  <a:ext cx="168275" cy="168275"/>
                </a:xfrm>
                <a:custGeom>
                  <a:avLst/>
                  <a:gdLst>
                    <a:gd name="T0" fmla="*/ 74 w 106"/>
                    <a:gd name="T1" fmla="*/ 106 h 106"/>
                    <a:gd name="T2" fmla="*/ 20 w 106"/>
                    <a:gd name="T3" fmla="*/ 106 h 106"/>
                    <a:gd name="T4" fmla="*/ 20 w 106"/>
                    <a:gd name="T5" fmla="*/ 106 h 106"/>
                    <a:gd name="T6" fmla="*/ 12 w 106"/>
                    <a:gd name="T7" fmla="*/ 104 h 106"/>
                    <a:gd name="T8" fmla="*/ 6 w 106"/>
                    <a:gd name="T9" fmla="*/ 100 h 106"/>
                    <a:gd name="T10" fmla="*/ 2 w 106"/>
                    <a:gd name="T11" fmla="*/ 94 h 106"/>
                    <a:gd name="T12" fmla="*/ 0 w 106"/>
                    <a:gd name="T13" fmla="*/ 86 h 106"/>
                    <a:gd name="T14" fmla="*/ 0 w 106"/>
                    <a:gd name="T15" fmla="*/ 20 h 106"/>
                    <a:gd name="T16" fmla="*/ 0 w 106"/>
                    <a:gd name="T17" fmla="*/ 20 h 106"/>
                    <a:gd name="T18" fmla="*/ 2 w 106"/>
                    <a:gd name="T19" fmla="*/ 12 h 106"/>
                    <a:gd name="T20" fmla="*/ 6 w 106"/>
                    <a:gd name="T21" fmla="*/ 6 h 106"/>
                    <a:gd name="T22" fmla="*/ 12 w 106"/>
                    <a:gd name="T23" fmla="*/ 2 h 106"/>
                    <a:gd name="T24" fmla="*/ 20 w 106"/>
                    <a:gd name="T25" fmla="*/ 0 h 106"/>
                    <a:gd name="T26" fmla="*/ 86 w 106"/>
                    <a:gd name="T27" fmla="*/ 0 h 106"/>
                    <a:gd name="T28" fmla="*/ 86 w 106"/>
                    <a:gd name="T29" fmla="*/ 0 h 106"/>
                    <a:gd name="T30" fmla="*/ 94 w 106"/>
                    <a:gd name="T31" fmla="*/ 2 h 106"/>
                    <a:gd name="T32" fmla="*/ 100 w 106"/>
                    <a:gd name="T33" fmla="*/ 6 h 106"/>
                    <a:gd name="T34" fmla="*/ 104 w 106"/>
                    <a:gd name="T35" fmla="*/ 12 h 106"/>
                    <a:gd name="T36" fmla="*/ 106 w 106"/>
                    <a:gd name="T37" fmla="*/ 20 h 106"/>
                    <a:gd name="T38" fmla="*/ 106 w 106"/>
                    <a:gd name="T39" fmla="*/ 74 h 106"/>
                    <a:gd name="T40" fmla="*/ 106 w 106"/>
                    <a:gd name="T41" fmla="*/ 74 h 106"/>
                    <a:gd name="T42" fmla="*/ 106 w 106"/>
                    <a:gd name="T43" fmla="*/ 78 h 106"/>
                    <a:gd name="T44" fmla="*/ 104 w 106"/>
                    <a:gd name="T45" fmla="*/ 80 h 106"/>
                    <a:gd name="T46" fmla="*/ 100 w 106"/>
                    <a:gd name="T47" fmla="*/ 82 h 106"/>
                    <a:gd name="T48" fmla="*/ 98 w 106"/>
                    <a:gd name="T49" fmla="*/ 84 h 106"/>
                    <a:gd name="T50" fmla="*/ 98 w 106"/>
                    <a:gd name="T51" fmla="*/ 84 h 106"/>
                    <a:gd name="T52" fmla="*/ 94 w 106"/>
                    <a:gd name="T53" fmla="*/ 82 h 106"/>
                    <a:gd name="T54" fmla="*/ 92 w 106"/>
                    <a:gd name="T55" fmla="*/ 80 h 106"/>
                    <a:gd name="T56" fmla="*/ 90 w 106"/>
                    <a:gd name="T57" fmla="*/ 78 h 106"/>
                    <a:gd name="T58" fmla="*/ 90 w 106"/>
                    <a:gd name="T59" fmla="*/ 74 h 106"/>
                    <a:gd name="T60" fmla="*/ 90 w 106"/>
                    <a:gd name="T61" fmla="*/ 20 h 106"/>
                    <a:gd name="T62" fmla="*/ 90 w 106"/>
                    <a:gd name="T63" fmla="*/ 20 h 106"/>
                    <a:gd name="T64" fmla="*/ 88 w 106"/>
                    <a:gd name="T65" fmla="*/ 18 h 106"/>
                    <a:gd name="T66" fmla="*/ 86 w 106"/>
                    <a:gd name="T67" fmla="*/ 16 h 106"/>
                    <a:gd name="T68" fmla="*/ 20 w 106"/>
                    <a:gd name="T69" fmla="*/ 16 h 106"/>
                    <a:gd name="T70" fmla="*/ 20 w 106"/>
                    <a:gd name="T71" fmla="*/ 16 h 106"/>
                    <a:gd name="T72" fmla="*/ 18 w 106"/>
                    <a:gd name="T73" fmla="*/ 18 h 106"/>
                    <a:gd name="T74" fmla="*/ 16 w 106"/>
                    <a:gd name="T75" fmla="*/ 20 h 106"/>
                    <a:gd name="T76" fmla="*/ 16 w 106"/>
                    <a:gd name="T77" fmla="*/ 86 h 106"/>
                    <a:gd name="T78" fmla="*/ 16 w 106"/>
                    <a:gd name="T79" fmla="*/ 86 h 106"/>
                    <a:gd name="T80" fmla="*/ 18 w 106"/>
                    <a:gd name="T81" fmla="*/ 88 h 106"/>
                    <a:gd name="T82" fmla="*/ 20 w 106"/>
                    <a:gd name="T83" fmla="*/ 90 h 106"/>
                    <a:gd name="T84" fmla="*/ 74 w 106"/>
                    <a:gd name="T85" fmla="*/ 90 h 106"/>
                    <a:gd name="T86" fmla="*/ 74 w 106"/>
                    <a:gd name="T87" fmla="*/ 90 h 106"/>
                    <a:gd name="T88" fmla="*/ 78 w 106"/>
                    <a:gd name="T89" fmla="*/ 90 h 106"/>
                    <a:gd name="T90" fmla="*/ 80 w 106"/>
                    <a:gd name="T91" fmla="*/ 92 h 106"/>
                    <a:gd name="T92" fmla="*/ 82 w 106"/>
                    <a:gd name="T93" fmla="*/ 94 h 106"/>
                    <a:gd name="T94" fmla="*/ 84 w 106"/>
                    <a:gd name="T95" fmla="*/ 98 h 106"/>
                    <a:gd name="T96" fmla="*/ 84 w 106"/>
                    <a:gd name="T97" fmla="*/ 98 h 106"/>
                    <a:gd name="T98" fmla="*/ 82 w 106"/>
                    <a:gd name="T99" fmla="*/ 100 h 106"/>
                    <a:gd name="T100" fmla="*/ 80 w 106"/>
                    <a:gd name="T101" fmla="*/ 104 h 106"/>
                    <a:gd name="T102" fmla="*/ 78 w 106"/>
                    <a:gd name="T103" fmla="*/ 106 h 106"/>
                    <a:gd name="T104" fmla="*/ 74 w 106"/>
                    <a:gd name="T105" fmla="*/ 106 h 106"/>
                    <a:gd name="T106" fmla="*/ 74 w 106"/>
                    <a:gd name="T107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6" h="106">
                      <a:moveTo>
                        <a:pt x="74" y="106"/>
                      </a:moveTo>
                      <a:lnTo>
                        <a:pt x="20" y="106"/>
                      </a:lnTo>
                      <a:lnTo>
                        <a:pt x="20" y="106"/>
                      </a:lnTo>
                      <a:lnTo>
                        <a:pt x="12" y="104"/>
                      </a:lnTo>
                      <a:lnTo>
                        <a:pt x="6" y="100"/>
                      </a:lnTo>
                      <a:lnTo>
                        <a:pt x="2" y="94"/>
                      </a:lnTo>
                      <a:lnTo>
                        <a:pt x="0" y="86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2"/>
                      </a:lnTo>
                      <a:lnTo>
                        <a:pt x="6" y="6"/>
                      </a:lnTo>
                      <a:lnTo>
                        <a:pt x="12" y="2"/>
                      </a:lnTo>
                      <a:lnTo>
                        <a:pt x="20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94" y="2"/>
                      </a:lnTo>
                      <a:lnTo>
                        <a:pt x="100" y="6"/>
                      </a:lnTo>
                      <a:lnTo>
                        <a:pt x="104" y="12"/>
                      </a:lnTo>
                      <a:lnTo>
                        <a:pt x="106" y="20"/>
                      </a:lnTo>
                      <a:lnTo>
                        <a:pt x="106" y="74"/>
                      </a:lnTo>
                      <a:lnTo>
                        <a:pt x="106" y="74"/>
                      </a:lnTo>
                      <a:lnTo>
                        <a:pt x="106" y="78"/>
                      </a:lnTo>
                      <a:lnTo>
                        <a:pt x="104" y="80"/>
                      </a:lnTo>
                      <a:lnTo>
                        <a:pt x="100" y="82"/>
                      </a:lnTo>
                      <a:lnTo>
                        <a:pt x="98" y="84"/>
                      </a:lnTo>
                      <a:lnTo>
                        <a:pt x="98" y="84"/>
                      </a:lnTo>
                      <a:lnTo>
                        <a:pt x="94" y="82"/>
                      </a:lnTo>
                      <a:lnTo>
                        <a:pt x="92" y="80"/>
                      </a:lnTo>
                      <a:lnTo>
                        <a:pt x="90" y="78"/>
                      </a:lnTo>
                      <a:lnTo>
                        <a:pt x="90" y="74"/>
                      </a:lnTo>
                      <a:lnTo>
                        <a:pt x="90" y="20"/>
                      </a:lnTo>
                      <a:lnTo>
                        <a:pt x="90" y="20"/>
                      </a:lnTo>
                      <a:lnTo>
                        <a:pt x="88" y="18"/>
                      </a:lnTo>
                      <a:lnTo>
                        <a:pt x="86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8" y="18"/>
                      </a:lnTo>
                      <a:lnTo>
                        <a:pt x="16" y="20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8" y="88"/>
                      </a:lnTo>
                      <a:lnTo>
                        <a:pt x="20" y="90"/>
                      </a:lnTo>
                      <a:lnTo>
                        <a:pt x="74" y="90"/>
                      </a:lnTo>
                      <a:lnTo>
                        <a:pt x="74" y="90"/>
                      </a:lnTo>
                      <a:lnTo>
                        <a:pt x="78" y="90"/>
                      </a:lnTo>
                      <a:lnTo>
                        <a:pt x="80" y="92"/>
                      </a:lnTo>
                      <a:lnTo>
                        <a:pt x="82" y="94"/>
                      </a:lnTo>
                      <a:lnTo>
                        <a:pt x="84" y="98"/>
                      </a:lnTo>
                      <a:lnTo>
                        <a:pt x="84" y="98"/>
                      </a:lnTo>
                      <a:lnTo>
                        <a:pt x="82" y="100"/>
                      </a:lnTo>
                      <a:lnTo>
                        <a:pt x="80" y="104"/>
                      </a:lnTo>
                      <a:lnTo>
                        <a:pt x="78" y="106"/>
                      </a:lnTo>
                      <a:lnTo>
                        <a:pt x="74" y="106"/>
                      </a:lnTo>
                      <a:lnTo>
                        <a:pt x="74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9" name="Freeform 368"/>
                <p:cNvSpPr>
                  <a:spLocks/>
                </p:cNvSpPr>
                <p:nvPr/>
              </p:nvSpPr>
              <p:spPr bwMode="auto">
                <a:xfrm>
                  <a:off x="3511550" y="2751138"/>
                  <a:ext cx="269875" cy="76200"/>
                </a:xfrm>
                <a:custGeom>
                  <a:avLst/>
                  <a:gdLst>
                    <a:gd name="T0" fmla="*/ 150 w 170"/>
                    <a:gd name="T1" fmla="*/ 48 h 48"/>
                    <a:gd name="T2" fmla="*/ 20 w 170"/>
                    <a:gd name="T3" fmla="*/ 48 h 48"/>
                    <a:gd name="T4" fmla="*/ 20 w 170"/>
                    <a:gd name="T5" fmla="*/ 48 h 48"/>
                    <a:gd name="T6" fmla="*/ 12 w 170"/>
                    <a:gd name="T7" fmla="*/ 46 h 48"/>
                    <a:gd name="T8" fmla="*/ 6 w 170"/>
                    <a:gd name="T9" fmla="*/ 42 h 48"/>
                    <a:gd name="T10" fmla="*/ 2 w 170"/>
                    <a:gd name="T11" fmla="*/ 36 h 48"/>
                    <a:gd name="T12" fmla="*/ 0 w 170"/>
                    <a:gd name="T13" fmla="*/ 28 h 48"/>
                    <a:gd name="T14" fmla="*/ 0 w 170"/>
                    <a:gd name="T15" fmla="*/ 8 h 48"/>
                    <a:gd name="T16" fmla="*/ 0 w 170"/>
                    <a:gd name="T17" fmla="*/ 8 h 48"/>
                    <a:gd name="T18" fmla="*/ 0 w 170"/>
                    <a:gd name="T19" fmla="*/ 6 h 48"/>
                    <a:gd name="T20" fmla="*/ 2 w 170"/>
                    <a:gd name="T21" fmla="*/ 4 h 48"/>
                    <a:gd name="T22" fmla="*/ 6 w 170"/>
                    <a:gd name="T23" fmla="*/ 2 h 48"/>
                    <a:gd name="T24" fmla="*/ 8 w 170"/>
                    <a:gd name="T25" fmla="*/ 0 h 48"/>
                    <a:gd name="T26" fmla="*/ 8 w 170"/>
                    <a:gd name="T27" fmla="*/ 0 h 48"/>
                    <a:gd name="T28" fmla="*/ 12 w 170"/>
                    <a:gd name="T29" fmla="*/ 2 h 48"/>
                    <a:gd name="T30" fmla="*/ 14 w 170"/>
                    <a:gd name="T31" fmla="*/ 4 h 48"/>
                    <a:gd name="T32" fmla="*/ 16 w 170"/>
                    <a:gd name="T33" fmla="*/ 6 h 48"/>
                    <a:gd name="T34" fmla="*/ 16 w 170"/>
                    <a:gd name="T35" fmla="*/ 8 h 48"/>
                    <a:gd name="T36" fmla="*/ 16 w 170"/>
                    <a:gd name="T37" fmla="*/ 28 h 48"/>
                    <a:gd name="T38" fmla="*/ 16 w 170"/>
                    <a:gd name="T39" fmla="*/ 28 h 48"/>
                    <a:gd name="T40" fmla="*/ 18 w 170"/>
                    <a:gd name="T41" fmla="*/ 30 h 48"/>
                    <a:gd name="T42" fmla="*/ 20 w 170"/>
                    <a:gd name="T43" fmla="*/ 32 h 48"/>
                    <a:gd name="T44" fmla="*/ 150 w 170"/>
                    <a:gd name="T45" fmla="*/ 32 h 48"/>
                    <a:gd name="T46" fmla="*/ 150 w 170"/>
                    <a:gd name="T47" fmla="*/ 32 h 48"/>
                    <a:gd name="T48" fmla="*/ 152 w 170"/>
                    <a:gd name="T49" fmla="*/ 30 h 48"/>
                    <a:gd name="T50" fmla="*/ 154 w 170"/>
                    <a:gd name="T51" fmla="*/ 28 h 48"/>
                    <a:gd name="T52" fmla="*/ 154 w 170"/>
                    <a:gd name="T53" fmla="*/ 8 h 48"/>
                    <a:gd name="T54" fmla="*/ 154 w 170"/>
                    <a:gd name="T55" fmla="*/ 8 h 48"/>
                    <a:gd name="T56" fmla="*/ 154 w 170"/>
                    <a:gd name="T57" fmla="*/ 6 h 48"/>
                    <a:gd name="T58" fmla="*/ 156 w 170"/>
                    <a:gd name="T59" fmla="*/ 4 h 48"/>
                    <a:gd name="T60" fmla="*/ 158 w 170"/>
                    <a:gd name="T61" fmla="*/ 2 h 48"/>
                    <a:gd name="T62" fmla="*/ 162 w 170"/>
                    <a:gd name="T63" fmla="*/ 0 h 48"/>
                    <a:gd name="T64" fmla="*/ 162 w 170"/>
                    <a:gd name="T65" fmla="*/ 0 h 48"/>
                    <a:gd name="T66" fmla="*/ 164 w 170"/>
                    <a:gd name="T67" fmla="*/ 2 h 48"/>
                    <a:gd name="T68" fmla="*/ 168 w 170"/>
                    <a:gd name="T69" fmla="*/ 4 h 48"/>
                    <a:gd name="T70" fmla="*/ 168 w 170"/>
                    <a:gd name="T71" fmla="*/ 6 h 48"/>
                    <a:gd name="T72" fmla="*/ 170 w 170"/>
                    <a:gd name="T73" fmla="*/ 8 h 48"/>
                    <a:gd name="T74" fmla="*/ 170 w 170"/>
                    <a:gd name="T75" fmla="*/ 28 h 48"/>
                    <a:gd name="T76" fmla="*/ 170 w 170"/>
                    <a:gd name="T77" fmla="*/ 28 h 48"/>
                    <a:gd name="T78" fmla="*/ 168 w 170"/>
                    <a:gd name="T79" fmla="*/ 36 h 48"/>
                    <a:gd name="T80" fmla="*/ 164 w 170"/>
                    <a:gd name="T81" fmla="*/ 42 h 48"/>
                    <a:gd name="T82" fmla="*/ 158 w 170"/>
                    <a:gd name="T83" fmla="*/ 46 h 48"/>
                    <a:gd name="T84" fmla="*/ 150 w 170"/>
                    <a:gd name="T85" fmla="*/ 48 h 48"/>
                    <a:gd name="T86" fmla="*/ 150 w 170"/>
                    <a:gd name="T87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70" h="48">
                      <a:moveTo>
                        <a:pt x="150" y="48"/>
                      </a:moveTo>
                      <a:lnTo>
                        <a:pt x="20" y="48"/>
                      </a:lnTo>
                      <a:lnTo>
                        <a:pt x="20" y="48"/>
                      </a:lnTo>
                      <a:lnTo>
                        <a:pt x="12" y="46"/>
                      </a:lnTo>
                      <a:lnTo>
                        <a:pt x="6" y="42"/>
                      </a:lnTo>
                      <a:lnTo>
                        <a:pt x="2" y="36"/>
                      </a:lnTo>
                      <a:lnTo>
                        <a:pt x="0" y="2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2"/>
                      </a:lnTo>
                      <a:lnTo>
                        <a:pt x="14" y="4"/>
                      </a:lnTo>
                      <a:lnTo>
                        <a:pt x="16" y="6"/>
                      </a:lnTo>
                      <a:lnTo>
                        <a:pt x="16" y="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8" y="30"/>
                      </a:lnTo>
                      <a:lnTo>
                        <a:pt x="20" y="32"/>
                      </a:lnTo>
                      <a:lnTo>
                        <a:pt x="150" y="32"/>
                      </a:lnTo>
                      <a:lnTo>
                        <a:pt x="150" y="32"/>
                      </a:lnTo>
                      <a:lnTo>
                        <a:pt x="152" y="30"/>
                      </a:lnTo>
                      <a:lnTo>
                        <a:pt x="154" y="28"/>
                      </a:lnTo>
                      <a:lnTo>
                        <a:pt x="154" y="8"/>
                      </a:lnTo>
                      <a:lnTo>
                        <a:pt x="154" y="8"/>
                      </a:lnTo>
                      <a:lnTo>
                        <a:pt x="154" y="6"/>
                      </a:lnTo>
                      <a:lnTo>
                        <a:pt x="156" y="4"/>
                      </a:lnTo>
                      <a:lnTo>
                        <a:pt x="158" y="2"/>
                      </a:lnTo>
                      <a:lnTo>
                        <a:pt x="162" y="0"/>
                      </a:lnTo>
                      <a:lnTo>
                        <a:pt x="162" y="0"/>
                      </a:lnTo>
                      <a:lnTo>
                        <a:pt x="164" y="2"/>
                      </a:lnTo>
                      <a:lnTo>
                        <a:pt x="168" y="4"/>
                      </a:lnTo>
                      <a:lnTo>
                        <a:pt x="168" y="6"/>
                      </a:lnTo>
                      <a:lnTo>
                        <a:pt x="170" y="8"/>
                      </a:lnTo>
                      <a:lnTo>
                        <a:pt x="170" y="28"/>
                      </a:lnTo>
                      <a:lnTo>
                        <a:pt x="170" y="28"/>
                      </a:lnTo>
                      <a:lnTo>
                        <a:pt x="168" y="36"/>
                      </a:lnTo>
                      <a:lnTo>
                        <a:pt x="164" y="42"/>
                      </a:lnTo>
                      <a:lnTo>
                        <a:pt x="158" y="46"/>
                      </a:lnTo>
                      <a:lnTo>
                        <a:pt x="150" y="48"/>
                      </a:lnTo>
                      <a:lnTo>
                        <a:pt x="150" y="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30" name="Freeform 369"/>
                <p:cNvSpPr>
                  <a:spLocks/>
                </p:cNvSpPr>
                <p:nvPr/>
              </p:nvSpPr>
              <p:spPr bwMode="auto">
                <a:xfrm>
                  <a:off x="3632200" y="2801938"/>
                  <a:ext cx="28575" cy="73025"/>
                </a:xfrm>
                <a:custGeom>
                  <a:avLst/>
                  <a:gdLst>
                    <a:gd name="T0" fmla="*/ 8 w 18"/>
                    <a:gd name="T1" fmla="*/ 46 h 46"/>
                    <a:gd name="T2" fmla="*/ 8 w 18"/>
                    <a:gd name="T3" fmla="*/ 46 h 46"/>
                    <a:gd name="T4" fmla="*/ 6 w 18"/>
                    <a:gd name="T5" fmla="*/ 46 h 46"/>
                    <a:gd name="T6" fmla="*/ 4 w 18"/>
                    <a:gd name="T7" fmla="*/ 44 h 46"/>
                    <a:gd name="T8" fmla="*/ 2 w 18"/>
                    <a:gd name="T9" fmla="*/ 42 h 46"/>
                    <a:gd name="T10" fmla="*/ 0 w 18"/>
                    <a:gd name="T11" fmla="*/ 38 h 46"/>
                    <a:gd name="T12" fmla="*/ 0 w 18"/>
                    <a:gd name="T13" fmla="*/ 8 h 46"/>
                    <a:gd name="T14" fmla="*/ 0 w 18"/>
                    <a:gd name="T15" fmla="*/ 8 h 46"/>
                    <a:gd name="T16" fmla="*/ 2 w 18"/>
                    <a:gd name="T17" fmla="*/ 6 h 46"/>
                    <a:gd name="T18" fmla="*/ 4 w 18"/>
                    <a:gd name="T19" fmla="*/ 2 h 46"/>
                    <a:gd name="T20" fmla="*/ 6 w 18"/>
                    <a:gd name="T21" fmla="*/ 0 h 46"/>
                    <a:gd name="T22" fmla="*/ 8 w 18"/>
                    <a:gd name="T23" fmla="*/ 0 h 46"/>
                    <a:gd name="T24" fmla="*/ 8 w 18"/>
                    <a:gd name="T25" fmla="*/ 0 h 46"/>
                    <a:gd name="T26" fmla="*/ 12 w 18"/>
                    <a:gd name="T27" fmla="*/ 0 h 46"/>
                    <a:gd name="T28" fmla="*/ 14 w 18"/>
                    <a:gd name="T29" fmla="*/ 2 h 46"/>
                    <a:gd name="T30" fmla="*/ 16 w 18"/>
                    <a:gd name="T31" fmla="*/ 6 h 46"/>
                    <a:gd name="T32" fmla="*/ 18 w 18"/>
                    <a:gd name="T33" fmla="*/ 8 h 46"/>
                    <a:gd name="T34" fmla="*/ 18 w 18"/>
                    <a:gd name="T35" fmla="*/ 38 h 46"/>
                    <a:gd name="T36" fmla="*/ 18 w 18"/>
                    <a:gd name="T37" fmla="*/ 38 h 46"/>
                    <a:gd name="T38" fmla="*/ 16 w 18"/>
                    <a:gd name="T39" fmla="*/ 42 h 46"/>
                    <a:gd name="T40" fmla="*/ 14 w 18"/>
                    <a:gd name="T41" fmla="*/ 44 h 46"/>
                    <a:gd name="T42" fmla="*/ 12 w 18"/>
                    <a:gd name="T43" fmla="*/ 46 h 46"/>
                    <a:gd name="T44" fmla="*/ 8 w 18"/>
                    <a:gd name="T45" fmla="*/ 46 h 46"/>
                    <a:gd name="T46" fmla="*/ 8 w 18"/>
                    <a:gd name="T47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8" h="46">
                      <a:moveTo>
                        <a:pt x="8" y="46"/>
                      </a:moveTo>
                      <a:lnTo>
                        <a:pt x="8" y="46"/>
                      </a:lnTo>
                      <a:lnTo>
                        <a:pt x="6" y="46"/>
                      </a:lnTo>
                      <a:lnTo>
                        <a:pt x="4" y="44"/>
                      </a:lnTo>
                      <a:lnTo>
                        <a:pt x="2" y="42"/>
                      </a:lnTo>
                      <a:lnTo>
                        <a:pt x="0" y="3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4" y="2"/>
                      </a:lnTo>
                      <a:lnTo>
                        <a:pt x="16" y="6"/>
                      </a:lnTo>
                      <a:lnTo>
                        <a:pt x="18" y="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6" y="42"/>
                      </a:lnTo>
                      <a:lnTo>
                        <a:pt x="14" y="44"/>
                      </a:lnTo>
                      <a:lnTo>
                        <a:pt x="12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</p:grpSp>
        </p:grpSp>
        <p:grpSp>
          <p:nvGrpSpPr>
            <p:cNvPr id="125" name="Group 350"/>
            <p:cNvGrpSpPr/>
            <p:nvPr/>
          </p:nvGrpSpPr>
          <p:grpSpPr>
            <a:xfrm>
              <a:off x="1845815" y="3897565"/>
              <a:ext cx="728471" cy="728470"/>
              <a:chOff x="2046539" y="2087882"/>
              <a:chExt cx="564063" cy="564063"/>
            </a:xfrm>
          </p:grpSpPr>
          <p:sp>
            <p:nvSpPr>
              <p:cNvPr id="118" name="Rounded Rectangle 117"/>
              <p:cNvSpPr/>
              <p:nvPr/>
            </p:nvSpPr>
            <p:spPr>
              <a:xfrm>
                <a:off x="2046539" y="2087882"/>
                <a:ext cx="564063" cy="564063"/>
              </a:xfrm>
              <a:prstGeom prst="roundRect">
                <a:avLst>
                  <a:gd name="adj" fmla="val 10200"/>
                </a:avLst>
              </a:prstGeom>
              <a:blipFill dpi="0"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latin typeface="+mj-lt"/>
                </a:endParaRPr>
              </a:p>
            </p:txBody>
          </p:sp>
          <p:grpSp>
            <p:nvGrpSpPr>
              <p:cNvPr id="132" name="Group 352"/>
              <p:cNvGrpSpPr/>
              <p:nvPr/>
            </p:nvGrpSpPr>
            <p:grpSpPr>
              <a:xfrm>
                <a:off x="2107643" y="2161223"/>
                <a:ext cx="428625" cy="422275"/>
                <a:chOff x="2311400" y="3729038"/>
                <a:chExt cx="428625" cy="422275"/>
              </a:xfrm>
            </p:grpSpPr>
            <p:sp>
              <p:nvSpPr>
                <p:cNvPr id="120" name="Freeform 370"/>
                <p:cNvSpPr>
                  <a:spLocks/>
                </p:cNvSpPr>
                <p:nvPr/>
              </p:nvSpPr>
              <p:spPr bwMode="auto">
                <a:xfrm>
                  <a:off x="2473325" y="3776663"/>
                  <a:ext cx="127000" cy="206375"/>
                </a:xfrm>
                <a:custGeom>
                  <a:avLst/>
                  <a:gdLst>
                    <a:gd name="T0" fmla="*/ 30 w 80"/>
                    <a:gd name="T1" fmla="*/ 116 h 130"/>
                    <a:gd name="T2" fmla="*/ 16 w 80"/>
                    <a:gd name="T3" fmla="*/ 114 h 130"/>
                    <a:gd name="T4" fmla="*/ 0 w 80"/>
                    <a:gd name="T5" fmla="*/ 106 h 130"/>
                    <a:gd name="T6" fmla="*/ 10 w 80"/>
                    <a:gd name="T7" fmla="*/ 92 h 130"/>
                    <a:gd name="T8" fmla="*/ 24 w 80"/>
                    <a:gd name="T9" fmla="*/ 96 h 130"/>
                    <a:gd name="T10" fmla="*/ 36 w 80"/>
                    <a:gd name="T11" fmla="*/ 98 h 130"/>
                    <a:gd name="T12" fmla="*/ 50 w 80"/>
                    <a:gd name="T13" fmla="*/ 96 h 130"/>
                    <a:gd name="T14" fmla="*/ 56 w 80"/>
                    <a:gd name="T15" fmla="*/ 88 h 130"/>
                    <a:gd name="T16" fmla="*/ 56 w 80"/>
                    <a:gd name="T17" fmla="*/ 84 h 130"/>
                    <a:gd name="T18" fmla="*/ 48 w 80"/>
                    <a:gd name="T19" fmla="*/ 76 h 130"/>
                    <a:gd name="T20" fmla="*/ 36 w 80"/>
                    <a:gd name="T21" fmla="*/ 72 h 130"/>
                    <a:gd name="T22" fmla="*/ 14 w 80"/>
                    <a:gd name="T23" fmla="*/ 62 h 130"/>
                    <a:gd name="T24" fmla="*/ 6 w 80"/>
                    <a:gd name="T25" fmla="*/ 54 h 130"/>
                    <a:gd name="T26" fmla="*/ 2 w 80"/>
                    <a:gd name="T27" fmla="*/ 44 h 130"/>
                    <a:gd name="T28" fmla="*/ 4 w 80"/>
                    <a:gd name="T29" fmla="*/ 34 h 130"/>
                    <a:gd name="T30" fmla="*/ 20 w 80"/>
                    <a:gd name="T31" fmla="*/ 20 h 130"/>
                    <a:gd name="T32" fmla="*/ 32 w 80"/>
                    <a:gd name="T33" fmla="*/ 0 h 130"/>
                    <a:gd name="T34" fmla="*/ 50 w 80"/>
                    <a:gd name="T35" fmla="*/ 16 h 130"/>
                    <a:gd name="T36" fmla="*/ 62 w 80"/>
                    <a:gd name="T37" fmla="*/ 16 h 130"/>
                    <a:gd name="T38" fmla="*/ 76 w 80"/>
                    <a:gd name="T39" fmla="*/ 22 h 130"/>
                    <a:gd name="T40" fmla="*/ 66 w 80"/>
                    <a:gd name="T41" fmla="*/ 36 h 130"/>
                    <a:gd name="T42" fmla="*/ 58 w 80"/>
                    <a:gd name="T43" fmla="*/ 34 h 130"/>
                    <a:gd name="T44" fmla="*/ 44 w 80"/>
                    <a:gd name="T45" fmla="*/ 32 h 130"/>
                    <a:gd name="T46" fmla="*/ 30 w 80"/>
                    <a:gd name="T47" fmla="*/ 34 h 130"/>
                    <a:gd name="T48" fmla="*/ 26 w 80"/>
                    <a:gd name="T49" fmla="*/ 42 h 130"/>
                    <a:gd name="T50" fmla="*/ 28 w 80"/>
                    <a:gd name="T51" fmla="*/ 46 h 130"/>
                    <a:gd name="T52" fmla="*/ 48 w 80"/>
                    <a:gd name="T53" fmla="*/ 56 h 130"/>
                    <a:gd name="T54" fmla="*/ 60 w 80"/>
                    <a:gd name="T55" fmla="*/ 60 h 130"/>
                    <a:gd name="T56" fmla="*/ 74 w 80"/>
                    <a:gd name="T57" fmla="*/ 70 h 130"/>
                    <a:gd name="T58" fmla="*/ 78 w 80"/>
                    <a:gd name="T59" fmla="*/ 80 h 130"/>
                    <a:gd name="T60" fmla="*/ 80 w 80"/>
                    <a:gd name="T61" fmla="*/ 86 h 130"/>
                    <a:gd name="T62" fmla="*/ 72 w 80"/>
                    <a:gd name="T63" fmla="*/ 104 h 130"/>
                    <a:gd name="T64" fmla="*/ 50 w 80"/>
                    <a:gd name="T65" fmla="*/ 114 h 130"/>
                    <a:gd name="T66" fmla="*/ 30 w 80"/>
                    <a:gd name="T67" fmla="*/ 13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80" h="130">
                      <a:moveTo>
                        <a:pt x="30" y="130"/>
                      </a:moveTo>
                      <a:lnTo>
                        <a:pt x="30" y="116"/>
                      </a:lnTo>
                      <a:lnTo>
                        <a:pt x="30" y="116"/>
                      </a:lnTo>
                      <a:lnTo>
                        <a:pt x="16" y="114"/>
                      </a:lnTo>
                      <a:lnTo>
                        <a:pt x="2" y="108"/>
                      </a:lnTo>
                      <a:lnTo>
                        <a:pt x="0" y="106"/>
                      </a:lnTo>
                      <a:lnTo>
                        <a:pt x="8" y="90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24" y="96"/>
                      </a:lnTo>
                      <a:lnTo>
                        <a:pt x="36" y="98"/>
                      </a:lnTo>
                      <a:lnTo>
                        <a:pt x="36" y="98"/>
                      </a:lnTo>
                      <a:lnTo>
                        <a:pt x="44" y="98"/>
                      </a:lnTo>
                      <a:lnTo>
                        <a:pt x="50" y="96"/>
                      </a:lnTo>
                      <a:lnTo>
                        <a:pt x="54" y="92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4"/>
                      </a:lnTo>
                      <a:lnTo>
                        <a:pt x="52" y="80"/>
                      </a:lnTo>
                      <a:lnTo>
                        <a:pt x="48" y="76"/>
                      </a:lnTo>
                      <a:lnTo>
                        <a:pt x="36" y="72"/>
                      </a:lnTo>
                      <a:lnTo>
                        <a:pt x="36" y="72"/>
                      </a:lnTo>
                      <a:lnTo>
                        <a:pt x="24" y="68"/>
                      </a:lnTo>
                      <a:lnTo>
                        <a:pt x="14" y="62"/>
                      </a:lnTo>
                      <a:lnTo>
                        <a:pt x="8" y="58"/>
                      </a:lnTo>
                      <a:lnTo>
                        <a:pt x="6" y="54"/>
                      </a:lnTo>
                      <a:lnTo>
                        <a:pt x="4" y="48"/>
                      </a:lnTo>
                      <a:lnTo>
                        <a:pt x="2" y="44"/>
                      </a:lnTo>
                      <a:lnTo>
                        <a:pt x="2" y="44"/>
                      </a:lnTo>
                      <a:lnTo>
                        <a:pt x="4" y="34"/>
                      </a:lnTo>
                      <a:lnTo>
                        <a:pt x="10" y="26"/>
                      </a:lnTo>
                      <a:lnTo>
                        <a:pt x="20" y="20"/>
                      </a:lnTo>
                      <a:lnTo>
                        <a:pt x="32" y="16"/>
                      </a:lnTo>
                      <a:lnTo>
                        <a:pt x="32" y="0"/>
                      </a:lnTo>
                      <a:lnTo>
                        <a:pt x="50" y="0"/>
                      </a:lnTo>
                      <a:lnTo>
                        <a:pt x="50" y="16"/>
                      </a:lnTo>
                      <a:lnTo>
                        <a:pt x="50" y="16"/>
                      </a:lnTo>
                      <a:lnTo>
                        <a:pt x="62" y="16"/>
                      </a:lnTo>
                      <a:lnTo>
                        <a:pt x="74" y="20"/>
                      </a:lnTo>
                      <a:lnTo>
                        <a:pt x="76" y="22"/>
                      </a:lnTo>
                      <a:lnTo>
                        <a:pt x="68" y="38"/>
                      </a:lnTo>
                      <a:lnTo>
                        <a:pt x="66" y="36"/>
                      </a:lnTo>
                      <a:lnTo>
                        <a:pt x="66" y="36"/>
                      </a:lnTo>
                      <a:lnTo>
                        <a:pt x="58" y="34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36" y="32"/>
                      </a:lnTo>
                      <a:lnTo>
                        <a:pt x="30" y="34"/>
                      </a:lnTo>
                      <a:lnTo>
                        <a:pt x="26" y="38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8" y="46"/>
                      </a:lnTo>
                      <a:lnTo>
                        <a:pt x="30" y="48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60" y="60"/>
                      </a:lnTo>
                      <a:lnTo>
                        <a:pt x="70" y="66"/>
                      </a:lnTo>
                      <a:lnTo>
                        <a:pt x="74" y="70"/>
                      </a:lnTo>
                      <a:lnTo>
                        <a:pt x="76" y="74"/>
                      </a:lnTo>
                      <a:lnTo>
                        <a:pt x="78" y="80"/>
                      </a:lnTo>
                      <a:lnTo>
                        <a:pt x="80" y="86"/>
                      </a:lnTo>
                      <a:lnTo>
                        <a:pt x="80" y="86"/>
                      </a:lnTo>
                      <a:lnTo>
                        <a:pt x="78" y="94"/>
                      </a:lnTo>
                      <a:lnTo>
                        <a:pt x="72" y="104"/>
                      </a:lnTo>
                      <a:lnTo>
                        <a:pt x="62" y="110"/>
                      </a:lnTo>
                      <a:lnTo>
                        <a:pt x="50" y="114"/>
                      </a:lnTo>
                      <a:lnTo>
                        <a:pt x="50" y="130"/>
                      </a:lnTo>
                      <a:lnTo>
                        <a:pt x="30" y="13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1" name="Freeform 371"/>
                <p:cNvSpPr>
                  <a:spLocks/>
                </p:cNvSpPr>
                <p:nvPr/>
              </p:nvSpPr>
              <p:spPr bwMode="auto">
                <a:xfrm>
                  <a:off x="2311400" y="3983038"/>
                  <a:ext cx="428625" cy="168275"/>
                </a:xfrm>
                <a:custGeom>
                  <a:avLst/>
                  <a:gdLst>
                    <a:gd name="T0" fmla="*/ 144 w 270"/>
                    <a:gd name="T1" fmla="*/ 106 h 106"/>
                    <a:gd name="T2" fmla="*/ 118 w 270"/>
                    <a:gd name="T3" fmla="*/ 104 h 106"/>
                    <a:gd name="T4" fmla="*/ 92 w 270"/>
                    <a:gd name="T5" fmla="*/ 96 h 106"/>
                    <a:gd name="T6" fmla="*/ 68 w 270"/>
                    <a:gd name="T7" fmla="*/ 84 h 106"/>
                    <a:gd name="T8" fmla="*/ 48 w 270"/>
                    <a:gd name="T9" fmla="*/ 66 h 106"/>
                    <a:gd name="T10" fmla="*/ 8 w 270"/>
                    <a:gd name="T11" fmla="*/ 66 h 106"/>
                    <a:gd name="T12" fmla="*/ 2 w 270"/>
                    <a:gd name="T13" fmla="*/ 64 h 106"/>
                    <a:gd name="T14" fmla="*/ 0 w 270"/>
                    <a:gd name="T15" fmla="*/ 58 h 106"/>
                    <a:gd name="T16" fmla="*/ 0 w 270"/>
                    <a:gd name="T17" fmla="*/ 54 h 106"/>
                    <a:gd name="T18" fmla="*/ 6 w 270"/>
                    <a:gd name="T19" fmla="*/ 50 h 106"/>
                    <a:gd name="T20" fmla="*/ 8 w 270"/>
                    <a:gd name="T21" fmla="*/ 48 h 106"/>
                    <a:gd name="T22" fmla="*/ 58 w 270"/>
                    <a:gd name="T23" fmla="*/ 52 h 106"/>
                    <a:gd name="T24" fmla="*/ 70 w 270"/>
                    <a:gd name="T25" fmla="*/ 64 h 106"/>
                    <a:gd name="T26" fmla="*/ 100 w 270"/>
                    <a:gd name="T27" fmla="*/ 82 h 106"/>
                    <a:gd name="T28" fmla="*/ 134 w 270"/>
                    <a:gd name="T29" fmla="*/ 88 h 106"/>
                    <a:gd name="T30" fmla="*/ 170 w 270"/>
                    <a:gd name="T31" fmla="*/ 86 h 106"/>
                    <a:gd name="T32" fmla="*/ 186 w 270"/>
                    <a:gd name="T33" fmla="*/ 82 h 106"/>
                    <a:gd name="T34" fmla="*/ 224 w 270"/>
                    <a:gd name="T35" fmla="*/ 56 h 106"/>
                    <a:gd name="T36" fmla="*/ 250 w 270"/>
                    <a:gd name="T37" fmla="*/ 20 h 106"/>
                    <a:gd name="T38" fmla="*/ 244 w 270"/>
                    <a:gd name="T39" fmla="*/ 18 h 106"/>
                    <a:gd name="T40" fmla="*/ 240 w 270"/>
                    <a:gd name="T41" fmla="*/ 16 h 106"/>
                    <a:gd name="T42" fmla="*/ 234 w 270"/>
                    <a:gd name="T43" fmla="*/ 24 h 106"/>
                    <a:gd name="T44" fmla="*/ 232 w 270"/>
                    <a:gd name="T45" fmla="*/ 26 h 106"/>
                    <a:gd name="T46" fmla="*/ 212 w 270"/>
                    <a:gd name="T47" fmla="*/ 48 h 106"/>
                    <a:gd name="T48" fmla="*/ 184 w 270"/>
                    <a:gd name="T49" fmla="*/ 66 h 106"/>
                    <a:gd name="T50" fmla="*/ 170 w 270"/>
                    <a:gd name="T51" fmla="*/ 70 h 106"/>
                    <a:gd name="T52" fmla="*/ 140 w 270"/>
                    <a:gd name="T53" fmla="*/ 72 h 106"/>
                    <a:gd name="T54" fmla="*/ 126 w 270"/>
                    <a:gd name="T55" fmla="*/ 72 h 106"/>
                    <a:gd name="T56" fmla="*/ 120 w 270"/>
                    <a:gd name="T57" fmla="*/ 68 h 106"/>
                    <a:gd name="T58" fmla="*/ 118 w 270"/>
                    <a:gd name="T59" fmla="*/ 62 h 106"/>
                    <a:gd name="T60" fmla="*/ 120 w 270"/>
                    <a:gd name="T61" fmla="*/ 58 h 106"/>
                    <a:gd name="T62" fmla="*/ 126 w 270"/>
                    <a:gd name="T63" fmla="*/ 54 h 106"/>
                    <a:gd name="T64" fmla="*/ 128 w 270"/>
                    <a:gd name="T65" fmla="*/ 54 h 106"/>
                    <a:gd name="T66" fmla="*/ 154 w 270"/>
                    <a:gd name="T67" fmla="*/ 56 h 106"/>
                    <a:gd name="T68" fmla="*/ 178 w 270"/>
                    <a:gd name="T69" fmla="*/ 50 h 106"/>
                    <a:gd name="T70" fmla="*/ 190 w 270"/>
                    <a:gd name="T71" fmla="*/ 44 h 106"/>
                    <a:gd name="T72" fmla="*/ 210 w 270"/>
                    <a:gd name="T73" fmla="*/ 26 h 106"/>
                    <a:gd name="T74" fmla="*/ 218 w 270"/>
                    <a:gd name="T75" fmla="*/ 16 h 106"/>
                    <a:gd name="T76" fmla="*/ 228 w 270"/>
                    <a:gd name="T77" fmla="*/ 4 h 106"/>
                    <a:gd name="T78" fmla="*/ 238 w 270"/>
                    <a:gd name="T79" fmla="*/ 0 h 106"/>
                    <a:gd name="T80" fmla="*/ 248 w 270"/>
                    <a:gd name="T81" fmla="*/ 0 h 106"/>
                    <a:gd name="T82" fmla="*/ 266 w 270"/>
                    <a:gd name="T83" fmla="*/ 10 h 106"/>
                    <a:gd name="T84" fmla="*/ 268 w 270"/>
                    <a:gd name="T85" fmla="*/ 20 h 106"/>
                    <a:gd name="T86" fmla="*/ 262 w 270"/>
                    <a:gd name="T87" fmla="*/ 32 h 106"/>
                    <a:gd name="T88" fmla="*/ 248 w 270"/>
                    <a:gd name="T89" fmla="*/ 56 h 106"/>
                    <a:gd name="T90" fmla="*/ 228 w 270"/>
                    <a:gd name="T91" fmla="*/ 76 h 106"/>
                    <a:gd name="T92" fmla="*/ 206 w 270"/>
                    <a:gd name="T93" fmla="*/ 92 h 106"/>
                    <a:gd name="T94" fmla="*/ 192 w 270"/>
                    <a:gd name="T95" fmla="*/ 98 h 106"/>
                    <a:gd name="T96" fmla="*/ 168 w 270"/>
                    <a:gd name="T97" fmla="*/ 104 h 106"/>
                    <a:gd name="T98" fmla="*/ 144 w 270"/>
                    <a:gd name="T99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70" h="106">
                      <a:moveTo>
                        <a:pt x="144" y="106"/>
                      </a:moveTo>
                      <a:lnTo>
                        <a:pt x="144" y="106"/>
                      </a:lnTo>
                      <a:lnTo>
                        <a:pt x="130" y="106"/>
                      </a:lnTo>
                      <a:lnTo>
                        <a:pt x="118" y="104"/>
                      </a:lnTo>
                      <a:lnTo>
                        <a:pt x="104" y="100"/>
                      </a:lnTo>
                      <a:lnTo>
                        <a:pt x="92" y="96"/>
                      </a:lnTo>
                      <a:lnTo>
                        <a:pt x="80" y="90"/>
                      </a:lnTo>
                      <a:lnTo>
                        <a:pt x="68" y="84"/>
                      </a:lnTo>
                      <a:lnTo>
                        <a:pt x="58" y="76"/>
                      </a:lnTo>
                      <a:lnTo>
                        <a:pt x="48" y="66"/>
                      </a:lnTo>
                      <a:lnTo>
                        <a:pt x="8" y="66"/>
                      </a:lnTo>
                      <a:lnTo>
                        <a:pt x="8" y="66"/>
                      </a:lnTo>
                      <a:lnTo>
                        <a:pt x="6" y="64"/>
                      </a:lnTo>
                      <a:lnTo>
                        <a:pt x="2" y="64"/>
                      </a:lnTo>
                      <a:lnTo>
                        <a:pt x="0" y="60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2" y="52"/>
                      </a:lnTo>
                      <a:lnTo>
                        <a:pt x="6" y="50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56" y="48"/>
                      </a:lnTo>
                      <a:lnTo>
                        <a:pt x="58" y="52"/>
                      </a:lnTo>
                      <a:lnTo>
                        <a:pt x="58" y="52"/>
                      </a:lnTo>
                      <a:lnTo>
                        <a:pt x="70" y="64"/>
                      </a:lnTo>
                      <a:lnTo>
                        <a:pt x="86" y="74"/>
                      </a:lnTo>
                      <a:lnTo>
                        <a:pt x="100" y="82"/>
                      </a:lnTo>
                      <a:lnTo>
                        <a:pt x="118" y="86"/>
                      </a:lnTo>
                      <a:lnTo>
                        <a:pt x="134" y="88"/>
                      </a:lnTo>
                      <a:lnTo>
                        <a:pt x="152" y="90"/>
                      </a:lnTo>
                      <a:lnTo>
                        <a:pt x="170" y="86"/>
                      </a:lnTo>
                      <a:lnTo>
                        <a:pt x="186" y="82"/>
                      </a:lnTo>
                      <a:lnTo>
                        <a:pt x="186" y="82"/>
                      </a:lnTo>
                      <a:lnTo>
                        <a:pt x="206" y="70"/>
                      </a:lnTo>
                      <a:lnTo>
                        <a:pt x="224" y="56"/>
                      </a:lnTo>
                      <a:lnTo>
                        <a:pt x="238" y="40"/>
                      </a:lnTo>
                      <a:lnTo>
                        <a:pt x="250" y="20"/>
                      </a:lnTo>
                      <a:lnTo>
                        <a:pt x="250" y="20"/>
                      </a:lnTo>
                      <a:lnTo>
                        <a:pt x="244" y="18"/>
                      </a:lnTo>
                      <a:lnTo>
                        <a:pt x="240" y="16"/>
                      </a:lnTo>
                      <a:lnTo>
                        <a:pt x="240" y="16"/>
                      </a:lnTo>
                      <a:lnTo>
                        <a:pt x="236" y="20"/>
                      </a:lnTo>
                      <a:lnTo>
                        <a:pt x="234" y="24"/>
                      </a:lnTo>
                      <a:lnTo>
                        <a:pt x="232" y="26"/>
                      </a:lnTo>
                      <a:lnTo>
                        <a:pt x="232" y="26"/>
                      </a:lnTo>
                      <a:lnTo>
                        <a:pt x="222" y="38"/>
                      </a:lnTo>
                      <a:lnTo>
                        <a:pt x="212" y="48"/>
                      </a:lnTo>
                      <a:lnTo>
                        <a:pt x="198" y="58"/>
                      </a:lnTo>
                      <a:lnTo>
                        <a:pt x="184" y="66"/>
                      </a:lnTo>
                      <a:lnTo>
                        <a:pt x="184" y="66"/>
                      </a:lnTo>
                      <a:lnTo>
                        <a:pt x="170" y="70"/>
                      </a:lnTo>
                      <a:lnTo>
                        <a:pt x="156" y="72"/>
                      </a:lnTo>
                      <a:lnTo>
                        <a:pt x="140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2" y="70"/>
                      </a:lnTo>
                      <a:lnTo>
                        <a:pt x="120" y="68"/>
                      </a:lnTo>
                      <a:lnTo>
                        <a:pt x="118" y="66"/>
                      </a:lnTo>
                      <a:lnTo>
                        <a:pt x="118" y="62"/>
                      </a:lnTo>
                      <a:lnTo>
                        <a:pt x="118" y="62"/>
                      </a:lnTo>
                      <a:lnTo>
                        <a:pt x="120" y="58"/>
                      </a:lnTo>
                      <a:lnTo>
                        <a:pt x="122" y="56"/>
                      </a:lnTo>
                      <a:lnTo>
                        <a:pt x="126" y="54"/>
                      </a:lnTo>
                      <a:lnTo>
                        <a:pt x="128" y="54"/>
                      </a:lnTo>
                      <a:lnTo>
                        <a:pt x="128" y="54"/>
                      </a:lnTo>
                      <a:lnTo>
                        <a:pt x="140" y="56"/>
                      </a:lnTo>
                      <a:lnTo>
                        <a:pt x="154" y="56"/>
                      </a:lnTo>
                      <a:lnTo>
                        <a:pt x="166" y="54"/>
                      </a:lnTo>
                      <a:lnTo>
                        <a:pt x="178" y="50"/>
                      </a:lnTo>
                      <a:lnTo>
                        <a:pt x="178" y="50"/>
                      </a:lnTo>
                      <a:lnTo>
                        <a:pt x="190" y="44"/>
                      </a:lnTo>
                      <a:lnTo>
                        <a:pt x="200" y="36"/>
                      </a:lnTo>
                      <a:lnTo>
                        <a:pt x="210" y="26"/>
                      </a:lnTo>
                      <a:lnTo>
                        <a:pt x="218" y="16"/>
                      </a:lnTo>
                      <a:lnTo>
                        <a:pt x="218" y="16"/>
                      </a:lnTo>
                      <a:lnTo>
                        <a:pt x="222" y="10"/>
                      </a:lnTo>
                      <a:lnTo>
                        <a:pt x="228" y="4"/>
                      </a:lnTo>
                      <a:lnTo>
                        <a:pt x="232" y="2"/>
                      </a:lnTo>
                      <a:lnTo>
                        <a:pt x="238" y="0"/>
                      </a:lnTo>
                      <a:lnTo>
                        <a:pt x="238" y="0"/>
                      </a:lnTo>
                      <a:lnTo>
                        <a:pt x="248" y="0"/>
                      </a:lnTo>
                      <a:lnTo>
                        <a:pt x="256" y="4"/>
                      </a:lnTo>
                      <a:lnTo>
                        <a:pt x="266" y="10"/>
                      </a:lnTo>
                      <a:lnTo>
                        <a:pt x="270" y="14"/>
                      </a:lnTo>
                      <a:lnTo>
                        <a:pt x="268" y="20"/>
                      </a:lnTo>
                      <a:lnTo>
                        <a:pt x="268" y="20"/>
                      </a:lnTo>
                      <a:lnTo>
                        <a:pt x="262" y="32"/>
                      </a:lnTo>
                      <a:lnTo>
                        <a:pt x="256" y="44"/>
                      </a:lnTo>
                      <a:lnTo>
                        <a:pt x="248" y="56"/>
                      </a:lnTo>
                      <a:lnTo>
                        <a:pt x="238" y="66"/>
                      </a:lnTo>
                      <a:lnTo>
                        <a:pt x="228" y="76"/>
                      </a:lnTo>
                      <a:lnTo>
                        <a:pt x="218" y="84"/>
                      </a:lnTo>
                      <a:lnTo>
                        <a:pt x="206" y="92"/>
                      </a:lnTo>
                      <a:lnTo>
                        <a:pt x="192" y="98"/>
                      </a:lnTo>
                      <a:lnTo>
                        <a:pt x="192" y="98"/>
                      </a:lnTo>
                      <a:lnTo>
                        <a:pt x="180" y="102"/>
                      </a:lnTo>
                      <a:lnTo>
                        <a:pt x="168" y="104"/>
                      </a:lnTo>
                      <a:lnTo>
                        <a:pt x="144" y="106"/>
                      </a:lnTo>
                      <a:lnTo>
                        <a:pt x="144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2" name="Freeform 372"/>
                <p:cNvSpPr>
                  <a:spLocks/>
                </p:cNvSpPr>
                <p:nvPr/>
              </p:nvSpPr>
              <p:spPr bwMode="auto">
                <a:xfrm>
                  <a:off x="2314575" y="3973513"/>
                  <a:ext cx="301625" cy="111125"/>
                </a:xfrm>
                <a:custGeom>
                  <a:avLst/>
                  <a:gdLst>
                    <a:gd name="T0" fmla="*/ 180 w 190"/>
                    <a:gd name="T1" fmla="*/ 70 h 70"/>
                    <a:gd name="T2" fmla="*/ 176 w 190"/>
                    <a:gd name="T3" fmla="*/ 68 h 70"/>
                    <a:gd name="T4" fmla="*/ 172 w 190"/>
                    <a:gd name="T5" fmla="*/ 64 h 70"/>
                    <a:gd name="T6" fmla="*/ 172 w 190"/>
                    <a:gd name="T7" fmla="*/ 58 h 70"/>
                    <a:gd name="T8" fmla="*/ 174 w 190"/>
                    <a:gd name="T9" fmla="*/ 52 h 70"/>
                    <a:gd name="T10" fmla="*/ 174 w 190"/>
                    <a:gd name="T11" fmla="*/ 48 h 70"/>
                    <a:gd name="T12" fmla="*/ 164 w 190"/>
                    <a:gd name="T13" fmla="*/ 42 h 70"/>
                    <a:gd name="T14" fmla="*/ 154 w 190"/>
                    <a:gd name="T15" fmla="*/ 46 h 70"/>
                    <a:gd name="T16" fmla="*/ 134 w 190"/>
                    <a:gd name="T17" fmla="*/ 46 h 70"/>
                    <a:gd name="T18" fmla="*/ 120 w 190"/>
                    <a:gd name="T19" fmla="*/ 42 h 70"/>
                    <a:gd name="T20" fmla="*/ 112 w 190"/>
                    <a:gd name="T21" fmla="*/ 34 h 70"/>
                    <a:gd name="T22" fmla="*/ 100 w 190"/>
                    <a:gd name="T23" fmla="*/ 24 h 70"/>
                    <a:gd name="T24" fmla="*/ 88 w 190"/>
                    <a:gd name="T25" fmla="*/ 16 h 70"/>
                    <a:gd name="T26" fmla="*/ 76 w 190"/>
                    <a:gd name="T27" fmla="*/ 16 h 70"/>
                    <a:gd name="T28" fmla="*/ 60 w 190"/>
                    <a:gd name="T29" fmla="*/ 22 h 70"/>
                    <a:gd name="T30" fmla="*/ 8 w 190"/>
                    <a:gd name="T31" fmla="*/ 22 h 70"/>
                    <a:gd name="T32" fmla="*/ 4 w 190"/>
                    <a:gd name="T33" fmla="*/ 22 h 70"/>
                    <a:gd name="T34" fmla="*/ 0 w 190"/>
                    <a:gd name="T35" fmla="*/ 18 h 70"/>
                    <a:gd name="T36" fmla="*/ 0 w 190"/>
                    <a:gd name="T37" fmla="*/ 14 h 70"/>
                    <a:gd name="T38" fmla="*/ 2 w 190"/>
                    <a:gd name="T39" fmla="*/ 8 h 70"/>
                    <a:gd name="T40" fmla="*/ 8 w 190"/>
                    <a:gd name="T41" fmla="*/ 6 h 70"/>
                    <a:gd name="T42" fmla="*/ 54 w 190"/>
                    <a:gd name="T43" fmla="*/ 6 h 70"/>
                    <a:gd name="T44" fmla="*/ 78 w 190"/>
                    <a:gd name="T45" fmla="*/ 0 h 70"/>
                    <a:gd name="T46" fmla="*/ 96 w 190"/>
                    <a:gd name="T47" fmla="*/ 2 h 70"/>
                    <a:gd name="T48" fmla="*/ 110 w 190"/>
                    <a:gd name="T49" fmla="*/ 10 h 70"/>
                    <a:gd name="T50" fmla="*/ 124 w 190"/>
                    <a:gd name="T51" fmla="*/ 24 h 70"/>
                    <a:gd name="T52" fmla="*/ 128 w 190"/>
                    <a:gd name="T53" fmla="*/ 28 h 70"/>
                    <a:gd name="T54" fmla="*/ 146 w 190"/>
                    <a:gd name="T55" fmla="*/ 30 h 70"/>
                    <a:gd name="T56" fmla="*/ 160 w 190"/>
                    <a:gd name="T57" fmla="*/ 26 h 70"/>
                    <a:gd name="T58" fmla="*/ 164 w 190"/>
                    <a:gd name="T59" fmla="*/ 26 h 70"/>
                    <a:gd name="T60" fmla="*/ 174 w 190"/>
                    <a:gd name="T61" fmla="*/ 28 h 70"/>
                    <a:gd name="T62" fmla="*/ 188 w 190"/>
                    <a:gd name="T63" fmla="*/ 40 h 70"/>
                    <a:gd name="T64" fmla="*/ 190 w 190"/>
                    <a:gd name="T65" fmla="*/ 44 h 70"/>
                    <a:gd name="T66" fmla="*/ 190 w 190"/>
                    <a:gd name="T67" fmla="*/ 56 h 70"/>
                    <a:gd name="T68" fmla="*/ 186 w 190"/>
                    <a:gd name="T69" fmla="*/ 66 h 70"/>
                    <a:gd name="T70" fmla="*/ 180 w 190"/>
                    <a:gd name="T71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0" h="70">
                      <a:moveTo>
                        <a:pt x="180" y="70"/>
                      </a:moveTo>
                      <a:lnTo>
                        <a:pt x="180" y="70"/>
                      </a:lnTo>
                      <a:lnTo>
                        <a:pt x="176" y="68"/>
                      </a:lnTo>
                      <a:lnTo>
                        <a:pt x="176" y="68"/>
                      </a:lnTo>
                      <a:lnTo>
                        <a:pt x="174" y="66"/>
                      </a:lnTo>
                      <a:lnTo>
                        <a:pt x="172" y="64"/>
                      </a:lnTo>
                      <a:lnTo>
                        <a:pt x="172" y="60"/>
                      </a:lnTo>
                      <a:lnTo>
                        <a:pt x="172" y="58"/>
                      </a:lnTo>
                      <a:lnTo>
                        <a:pt x="172" y="58"/>
                      </a:lnTo>
                      <a:lnTo>
                        <a:pt x="174" y="52"/>
                      </a:lnTo>
                      <a:lnTo>
                        <a:pt x="174" y="48"/>
                      </a:lnTo>
                      <a:lnTo>
                        <a:pt x="174" y="48"/>
                      </a:lnTo>
                      <a:lnTo>
                        <a:pt x="170" y="44"/>
                      </a:lnTo>
                      <a:lnTo>
                        <a:pt x="164" y="42"/>
                      </a:lnTo>
                      <a:lnTo>
                        <a:pt x="164" y="42"/>
                      </a:lnTo>
                      <a:lnTo>
                        <a:pt x="154" y="46"/>
                      </a:lnTo>
                      <a:lnTo>
                        <a:pt x="142" y="46"/>
                      </a:lnTo>
                      <a:lnTo>
                        <a:pt x="134" y="46"/>
                      </a:lnTo>
                      <a:lnTo>
                        <a:pt x="126" y="44"/>
                      </a:lnTo>
                      <a:lnTo>
                        <a:pt x="120" y="42"/>
                      </a:lnTo>
                      <a:lnTo>
                        <a:pt x="112" y="36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00" y="24"/>
                      </a:lnTo>
                      <a:lnTo>
                        <a:pt x="94" y="20"/>
                      </a:lnTo>
                      <a:lnTo>
                        <a:pt x="88" y="16"/>
                      </a:lnTo>
                      <a:lnTo>
                        <a:pt x="84" y="16"/>
                      </a:lnTo>
                      <a:lnTo>
                        <a:pt x="76" y="16"/>
                      </a:lnTo>
                      <a:lnTo>
                        <a:pt x="70" y="18"/>
                      </a:lnTo>
                      <a:lnTo>
                        <a:pt x="60" y="22"/>
                      </a:lnTo>
                      <a:lnTo>
                        <a:pt x="5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2" y="20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8" y="6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68" y="2"/>
                      </a:lnTo>
                      <a:lnTo>
                        <a:pt x="78" y="0"/>
                      </a:lnTo>
                      <a:lnTo>
                        <a:pt x="88" y="0"/>
                      </a:lnTo>
                      <a:lnTo>
                        <a:pt x="96" y="2"/>
                      </a:lnTo>
                      <a:lnTo>
                        <a:pt x="104" y="6"/>
                      </a:lnTo>
                      <a:lnTo>
                        <a:pt x="110" y="10"/>
                      </a:lnTo>
                      <a:lnTo>
                        <a:pt x="122" y="24"/>
                      </a:lnTo>
                      <a:lnTo>
                        <a:pt x="124" y="24"/>
                      </a:lnTo>
                      <a:lnTo>
                        <a:pt x="124" y="24"/>
                      </a:lnTo>
                      <a:lnTo>
                        <a:pt x="128" y="28"/>
                      </a:lnTo>
                      <a:lnTo>
                        <a:pt x="134" y="30"/>
                      </a:lnTo>
                      <a:lnTo>
                        <a:pt x="146" y="30"/>
                      </a:lnTo>
                      <a:lnTo>
                        <a:pt x="156" y="28"/>
                      </a:lnTo>
                      <a:lnTo>
                        <a:pt x="160" y="26"/>
                      </a:lnTo>
                      <a:lnTo>
                        <a:pt x="162" y="26"/>
                      </a:lnTo>
                      <a:lnTo>
                        <a:pt x="164" y="26"/>
                      </a:lnTo>
                      <a:lnTo>
                        <a:pt x="164" y="26"/>
                      </a:lnTo>
                      <a:lnTo>
                        <a:pt x="174" y="28"/>
                      </a:lnTo>
                      <a:lnTo>
                        <a:pt x="182" y="32"/>
                      </a:lnTo>
                      <a:lnTo>
                        <a:pt x="188" y="40"/>
                      </a:lnTo>
                      <a:lnTo>
                        <a:pt x="188" y="40"/>
                      </a:lnTo>
                      <a:lnTo>
                        <a:pt x="190" y="44"/>
                      </a:lnTo>
                      <a:lnTo>
                        <a:pt x="190" y="50"/>
                      </a:lnTo>
                      <a:lnTo>
                        <a:pt x="190" y="56"/>
                      </a:lnTo>
                      <a:lnTo>
                        <a:pt x="186" y="66"/>
                      </a:lnTo>
                      <a:lnTo>
                        <a:pt x="186" y="66"/>
                      </a:lnTo>
                      <a:lnTo>
                        <a:pt x="184" y="68"/>
                      </a:lnTo>
                      <a:lnTo>
                        <a:pt x="180" y="70"/>
                      </a:lnTo>
                      <a:lnTo>
                        <a:pt x="180" y="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  <p:sp>
              <p:nvSpPr>
                <p:cNvPr id="123" name="Freeform 373"/>
                <p:cNvSpPr>
                  <a:spLocks/>
                </p:cNvSpPr>
                <p:nvPr/>
              </p:nvSpPr>
              <p:spPr bwMode="auto">
                <a:xfrm>
                  <a:off x="2381250" y="3729038"/>
                  <a:ext cx="307975" cy="288925"/>
                </a:xfrm>
                <a:custGeom>
                  <a:avLst/>
                  <a:gdLst>
                    <a:gd name="T0" fmla="*/ 186 w 194"/>
                    <a:gd name="T1" fmla="*/ 182 h 182"/>
                    <a:gd name="T2" fmla="*/ 186 w 194"/>
                    <a:gd name="T3" fmla="*/ 182 h 182"/>
                    <a:gd name="T4" fmla="*/ 182 w 194"/>
                    <a:gd name="T5" fmla="*/ 180 h 182"/>
                    <a:gd name="T6" fmla="*/ 180 w 194"/>
                    <a:gd name="T7" fmla="*/ 178 h 182"/>
                    <a:gd name="T8" fmla="*/ 178 w 194"/>
                    <a:gd name="T9" fmla="*/ 176 h 182"/>
                    <a:gd name="T10" fmla="*/ 178 w 194"/>
                    <a:gd name="T11" fmla="*/ 174 h 182"/>
                    <a:gd name="T12" fmla="*/ 178 w 194"/>
                    <a:gd name="T13" fmla="*/ 18 h 182"/>
                    <a:gd name="T14" fmla="*/ 16 w 194"/>
                    <a:gd name="T15" fmla="*/ 18 h 182"/>
                    <a:gd name="T16" fmla="*/ 16 w 194"/>
                    <a:gd name="T17" fmla="*/ 168 h 182"/>
                    <a:gd name="T18" fmla="*/ 16 w 194"/>
                    <a:gd name="T19" fmla="*/ 168 h 182"/>
                    <a:gd name="T20" fmla="*/ 14 w 194"/>
                    <a:gd name="T21" fmla="*/ 170 h 182"/>
                    <a:gd name="T22" fmla="*/ 14 w 194"/>
                    <a:gd name="T23" fmla="*/ 174 h 182"/>
                    <a:gd name="T24" fmla="*/ 10 w 194"/>
                    <a:gd name="T25" fmla="*/ 174 h 182"/>
                    <a:gd name="T26" fmla="*/ 8 w 194"/>
                    <a:gd name="T27" fmla="*/ 176 h 182"/>
                    <a:gd name="T28" fmla="*/ 8 w 194"/>
                    <a:gd name="T29" fmla="*/ 176 h 182"/>
                    <a:gd name="T30" fmla="*/ 4 w 194"/>
                    <a:gd name="T31" fmla="*/ 174 h 182"/>
                    <a:gd name="T32" fmla="*/ 2 w 194"/>
                    <a:gd name="T33" fmla="*/ 174 h 182"/>
                    <a:gd name="T34" fmla="*/ 0 w 194"/>
                    <a:gd name="T35" fmla="*/ 170 h 182"/>
                    <a:gd name="T36" fmla="*/ 0 w 194"/>
                    <a:gd name="T37" fmla="*/ 168 h 182"/>
                    <a:gd name="T38" fmla="*/ 0 w 194"/>
                    <a:gd name="T39" fmla="*/ 0 h 182"/>
                    <a:gd name="T40" fmla="*/ 194 w 194"/>
                    <a:gd name="T41" fmla="*/ 0 h 182"/>
                    <a:gd name="T42" fmla="*/ 194 w 194"/>
                    <a:gd name="T43" fmla="*/ 174 h 182"/>
                    <a:gd name="T44" fmla="*/ 194 w 194"/>
                    <a:gd name="T45" fmla="*/ 174 h 182"/>
                    <a:gd name="T46" fmla="*/ 192 w 194"/>
                    <a:gd name="T47" fmla="*/ 176 h 182"/>
                    <a:gd name="T48" fmla="*/ 192 w 194"/>
                    <a:gd name="T49" fmla="*/ 178 h 182"/>
                    <a:gd name="T50" fmla="*/ 188 w 194"/>
                    <a:gd name="T51" fmla="*/ 180 h 182"/>
                    <a:gd name="T52" fmla="*/ 186 w 194"/>
                    <a:gd name="T53" fmla="*/ 182 h 182"/>
                    <a:gd name="T54" fmla="*/ 186 w 194"/>
                    <a:gd name="T55" fmla="*/ 18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94" h="182">
                      <a:moveTo>
                        <a:pt x="186" y="182"/>
                      </a:moveTo>
                      <a:lnTo>
                        <a:pt x="186" y="182"/>
                      </a:lnTo>
                      <a:lnTo>
                        <a:pt x="182" y="180"/>
                      </a:lnTo>
                      <a:lnTo>
                        <a:pt x="180" y="178"/>
                      </a:lnTo>
                      <a:lnTo>
                        <a:pt x="178" y="176"/>
                      </a:lnTo>
                      <a:lnTo>
                        <a:pt x="178" y="174"/>
                      </a:lnTo>
                      <a:lnTo>
                        <a:pt x="178" y="18"/>
                      </a:lnTo>
                      <a:lnTo>
                        <a:pt x="16" y="18"/>
                      </a:lnTo>
                      <a:lnTo>
                        <a:pt x="16" y="168"/>
                      </a:lnTo>
                      <a:lnTo>
                        <a:pt x="16" y="168"/>
                      </a:lnTo>
                      <a:lnTo>
                        <a:pt x="14" y="170"/>
                      </a:lnTo>
                      <a:lnTo>
                        <a:pt x="14" y="174"/>
                      </a:lnTo>
                      <a:lnTo>
                        <a:pt x="10" y="174"/>
                      </a:lnTo>
                      <a:lnTo>
                        <a:pt x="8" y="176"/>
                      </a:lnTo>
                      <a:lnTo>
                        <a:pt x="8" y="176"/>
                      </a:lnTo>
                      <a:lnTo>
                        <a:pt x="4" y="174"/>
                      </a:lnTo>
                      <a:lnTo>
                        <a:pt x="2" y="174"/>
                      </a:lnTo>
                      <a:lnTo>
                        <a:pt x="0" y="170"/>
                      </a:lnTo>
                      <a:lnTo>
                        <a:pt x="0" y="168"/>
                      </a:lnTo>
                      <a:lnTo>
                        <a:pt x="0" y="0"/>
                      </a:lnTo>
                      <a:lnTo>
                        <a:pt x="194" y="0"/>
                      </a:lnTo>
                      <a:lnTo>
                        <a:pt x="194" y="174"/>
                      </a:lnTo>
                      <a:lnTo>
                        <a:pt x="194" y="174"/>
                      </a:lnTo>
                      <a:lnTo>
                        <a:pt x="192" y="176"/>
                      </a:lnTo>
                      <a:lnTo>
                        <a:pt x="192" y="178"/>
                      </a:lnTo>
                      <a:lnTo>
                        <a:pt x="188" y="180"/>
                      </a:lnTo>
                      <a:lnTo>
                        <a:pt x="186" y="182"/>
                      </a:lnTo>
                      <a:lnTo>
                        <a:pt x="186" y="18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 dirty="0">
                    <a:latin typeface="+mj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13389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17000"/>
            <a:ext cx="11125236" cy="1368000"/>
          </a:xfrm>
        </p:spPr>
        <p:txBody>
          <a:bodyPr/>
          <a:lstStyle/>
          <a:p>
            <a:r>
              <a:rPr lang="en-IN" b="1" dirty="0"/>
              <a:t>Skill Update	</a:t>
            </a:r>
            <a:endParaRPr lang="en-US" dirty="0"/>
          </a:p>
        </p:txBody>
      </p:sp>
      <p:pic>
        <p:nvPicPr>
          <p:cNvPr id="202754" name="Picture 2">
            <a:extLst>
              <a:ext uri="{FF2B5EF4-FFF2-40B4-BE49-F238E27FC236}">
                <a16:creationId xmlns:a16="http://schemas.microsoft.com/office/drawing/2014/main" xmlns="" id="{A9B4ABBE-E303-40D0-803E-CB6298B05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00" y="2489926"/>
            <a:ext cx="7560000" cy="384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3000C28-4676-4D22-8A56-A8C4810F36AC}"/>
              </a:ext>
            </a:extLst>
          </p:cNvPr>
          <p:cNvSpPr/>
          <p:nvPr/>
        </p:nvSpPr>
        <p:spPr>
          <a:xfrm>
            <a:off x="227349" y="1289597"/>
            <a:ext cx="8568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Every employee needs to be enter their skills in the Organization Skill database.</a:t>
            </a:r>
          </a:p>
          <a:p>
            <a:endParaRPr lang="en-IN" sz="1200" dirty="0">
              <a:latin typeface="+mj-lt"/>
            </a:endParaRPr>
          </a:p>
          <a:p>
            <a:r>
              <a:rPr lang="en-IN" sz="1200" dirty="0">
                <a:solidFill>
                  <a:srgbClr val="FF0000"/>
                </a:solidFill>
                <a:latin typeface="+mj-lt"/>
              </a:rPr>
              <a:t>Enter the following link in the Chrome browser</a:t>
            </a:r>
          </a:p>
          <a:p>
            <a:r>
              <a:rPr lang="en-IN" sz="1200" dirty="0">
                <a:solidFill>
                  <a:srgbClr val="FF0000"/>
                </a:solidFill>
                <a:latin typeface="+mj-lt"/>
              </a:rPr>
              <a:t>r2d2.capgemini.com/</a:t>
            </a:r>
            <a:r>
              <a:rPr lang="en-IN" sz="1200" dirty="0" err="1">
                <a:solidFill>
                  <a:srgbClr val="FF0000"/>
                </a:solidFill>
                <a:latin typeface="+mj-lt"/>
              </a:rPr>
              <a:t>IWRetainWeb</a:t>
            </a:r>
            <a:r>
              <a:rPr lang="en-IN" sz="1200" dirty="0">
                <a:solidFill>
                  <a:srgbClr val="FF0000"/>
                </a:solidFill>
                <a:latin typeface="+mj-lt"/>
              </a:rPr>
              <a:t>/IWISAPIRedirect.dll/Files/static/html/webportal.html</a:t>
            </a:r>
          </a:p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Since it is Single sign-on you will be logged in and can update your profile. Click on Detail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45000"/>
            <a:ext cx="11125236" cy="936000"/>
          </a:xfrm>
        </p:spPr>
        <p:txBody>
          <a:bodyPr/>
          <a:lstStyle/>
          <a:p>
            <a:r>
              <a:rPr lang="en-IN" b="1" dirty="0"/>
              <a:t>Skill Update	</a:t>
            </a:r>
            <a:endParaRPr lang="en-US" dirty="0"/>
          </a:p>
        </p:txBody>
      </p:sp>
      <p:pic>
        <p:nvPicPr>
          <p:cNvPr id="203778" name="Picture 2">
            <a:extLst>
              <a:ext uri="{FF2B5EF4-FFF2-40B4-BE49-F238E27FC236}">
                <a16:creationId xmlns:a16="http://schemas.microsoft.com/office/drawing/2014/main" xmlns="" id="{955F1266-BFDE-4F9C-BEF5-10AD67A54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9" y="1989000"/>
            <a:ext cx="6769409" cy="4036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4D959186-8639-422C-9ECB-A7501FC392C8}"/>
              </a:ext>
            </a:extLst>
          </p:cNvPr>
          <p:cNvSpPr/>
          <p:nvPr/>
        </p:nvSpPr>
        <p:spPr>
          <a:xfrm>
            <a:off x="193409" y="995735"/>
            <a:ext cx="8568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You will see your details displayed on screen</a:t>
            </a:r>
          </a:p>
          <a:p>
            <a:endParaRPr lang="en-IN" sz="1200" dirty="0">
              <a:solidFill>
                <a:srgbClr val="000000"/>
              </a:solidFill>
              <a:latin typeface="+mj-lt"/>
            </a:endParaRPr>
          </a:p>
          <a:p>
            <a:r>
              <a:rPr lang="en-IN" sz="1200" dirty="0">
                <a:solidFill>
                  <a:srgbClr val="FF0000"/>
                </a:solidFill>
                <a:latin typeface="+mj-lt"/>
              </a:rPr>
              <a:t>Click on Delivery Profile</a:t>
            </a:r>
          </a:p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02CDD2F-F5BC-460F-9688-91BF74E2B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	</a:t>
            </a:r>
            <a:endParaRPr lang="en-IN" dirty="0"/>
          </a:p>
        </p:txBody>
      </p:sp>
      <p:pic>
        <p:nvPicPr>
          <p:cNvPr id="205826" name="Picture 2">
            <a:extLst>
              <a:ext uri="{FF2B5EF4-FFF2-40B4-BE49-F238E27FC236}">
                <a16:creationId xmlns:a16="http://schemas.microsoft.com/office/drawing/2014/main" xmlns="" id="{4CF55F68-C6ED-42D5-B982-82FFAFEE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9" y="1557000"/>
            <a:ext cx="7879729" cy="46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C9B2E0B-7951-44C7-922B-C670C6F3F1C1}"/>
              </a:ext>
            </a:extLst>
          </p:cNvPr>
          <p:cNvSpPr/>
          <p:nvPr/>
        </p:nvSpPr>
        <p:spPr>
          <a:xfrm>
            <a:off x="193409" y="995735"/>
            <a:ext cx="856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200" dirty="0">
              <a:solidFill>
                <a:srgbClr val="000000"/>
              </a:solidFill>
              <a:latin typeface="+mj-lt"/>
            </a:endParaRPr>
          </a:p>
          <a:p>
            <a:r>
              <a:rPr lang="en-IN" sz="1200" dirty="0">
                <a:solidFill>
                  <a:srgbClr val="FF0000"/>
                </a:solidFill>
                <a:latin typeface="+mj-lt"/>
              </a:rPr>
              <a:t>Click on Edit</a:t>
            </a:r>
          </a:p>
          <a:p>
            <a:r>
              <a:rPr lang="en-IN" sz="1200" dirty="0">
                <a:solidFill>
                  <a:srgbClr val="000000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6304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F0D067-C942-48E9-B314-C39DBAE97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753" y="-51900"/>
            <a:ext cx="11125236" cy="1104900"/>
          </a:xfrm>
        </p:spPr>
        <p:txBody>
          <a:bodyPr/>
          <a:lstStyle/>
          <a:p>
            <a:r>
              <a:rPr lang="en-IN" b="1" dirty="0"/>
              <a:t>Skill Update	</a:t>
            </a:r>
            <a:endParaRPr lang="en-IN" dirty="0"/>
          </a:p>
        </p:txBody>
      </p:sp>
      <p:pic>
        <p:nvPicPr>
          <p:cNvPr id="206850" name="Picture 2">
            <a:extLst>
              <a:ext uri="{FF2B5EF4-FFF2-40B4-BE49-F238E27FC236}">
                <a16:creationId xmlns:a16="http://schemas.microsoft.com/office/drawing/2014/main" xmlns="" id="{E3FF05B4-EA5F-4623-A07A-4F16E8B002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9" y="1773000"/>
            <a:ext cx="7632000" cy="40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0C4DA57-71E1-4BDC-B03B-79ED12BBC9F0}"/>
              </a:ext>
            </a:extLst>
          </p:cNvPr>
          <p:cNvSpPr/>
          <p:nvPr/>
        </p:nvSpPr>
        <p:spPr>
          <a:xfrm>
            <a:off x="195753" y="1053000"/>
            <a:ext cx="856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200" dirty="0">
              <a:solidFill>
                <a:srgbClr val="000000"/>
              </a:solidFill>
              <a:latin typeface="+mj-lt"/>
            </a:endParaRPr>
          </a:p>
          <a:p>
            <a:endParaRPr lang="en-IN" sz="1200" dirty="0">
              <a:solidFill>
                <a:srgbClr val="000000"/>
              </a:solidFill>
              <a:latin typeface="+mj-lt"/>
            </a:endParaRPr>
          </a:p>
          <a:p>
            <a:r>
              <a:rPr lang="en-IN" sz="1200" dirty="0">
                <a:solidFill>
                  <a:srgbClr val="FF0000"/>
                </a:solidFill>
                <a:latin typeface="+mj-lt"/>
              </a:rPr>
              <a:t>Click on Browse All</a:t>
            </a:r>
            <a:endParaRPr lang="en-IN" sz="120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02149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FFC90D-B39B-4608-8655-8C713656B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	</a:t>
            </a:r>
            <a:endParaRPr lang="en-IN" dirty="0"/>
          </a:p>
        </p:txBody>
      </p:sp>
      <p:pic>
        <p:nvPicPr>
          <p:cNvPr id="207874" name="Picture 2">
            <a:extLst>
              <a:ext uri="{FF2B5EF4-FFF2-40B4-BE49-F238E27FC236}">
                <a16:creationId xmlns:a16="http://schemas.microsoft.com/office/drawing/2014/main" xmlns="" id="{ED9F5E62-89B9-4AB5-A270-52D876630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9" y="1832330"/>
            <a:ext cx="9576000" cy="45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BEA04A2-F575-4EC4-A349-5FBDD69525A6}"/>
              </a:ext>
            </a:extLst>
          </p:cNvPr>
          <p:cNvSpPr txBox="1"/>
          <p:nvPr/>
        </p:nvSpPr>
        <p:spPr>
          <a:xfrm>
            <a:off x="227349" y="1129317"/>
            <a:ext cx="10692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+mj-lt"/>
              </a:rPr>
              <a:t>In Skill Portal you can enter the skills you possess, roles you have worked and certifications.</a:t>
            </a:r>
          </a:p>
          <a:p>
            <a:endParaRPr lang="en-US" sz="12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5340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B205FD-9C1D-4848-B2C1-9E96BC26F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IN" dirty="0"/>
          </a:p>
        </p:txBody>
      </p:sp>
      <p:pic>
        <p:nvPicPr>
          <p:cNvPr id="208898" name="Picture 2">
            <a:extLst>
              <a:ext uri="{FF2B5EF4-FFF2-40B4-BE49-F238E27FC236}">
                <a16:creationId xmlns:a16="http://schemas.microsoft.com/office/drawing/2014/main" xmlns="" id="{84430313-80AE-4DEE-9C5B-3BB452940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49" y="1485000"/>
            <a:ext cx="7704000" cy="442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AF559BE-EEB8-4850-9B4E-45EB82F796B6}"/>
              </a:ext>
            </a:extLst>
          </p:cNvPr>
          <p:cNvSpPr/>
          <p:nvPr/>
        </p:nvSpPr>
        <p:spPr>
          <a:xfrm>
            <a:off x="192000" y="1131808"/>
            <a:ext cx="406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200" dirty="0">
                <a:solidFill>
                  <a:srgbClr val="FF0000"/>
                </a:solidFill>
              </a:rPr>
              <a:t>Since we doing Skill updates Select Delivery Skills</a:t>
            </a:r>
          </a:p>
        </p:txBody>
      </p:sp>
    </p:spTree>
    <p:extLst>
      <p:ext uri="{BB962C8B-B14F-4D97-AF65-F5344CB8AC3E}">
        <p14:creationId xmlns:p14="http://schemas.microsoft.com/office/powerpoint/2010/main" val="4042091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9EAEE1D-2824-44A1-8830-59A60E417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626" y="1869900"/>
            <a:ext cx="7869047" cy="39056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B7556C-FCB8-46D0-9CFC-7A91BBDEB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IN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854C0075-847C-4AF6-9198-9DEB141A89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175498"/>
              </p:ext>
            </p:extLst>
          </p:nvPr>
        </p:nvGraphicFramePr>
        <p:xfrm>
          <a:off x="8400000" y="1226150"/>
          <a:ext cx="3124200" cy="3498850"/>
        </p:xfrm>
        <a:graphic>
          <a:graphicData uri="http://schemas.openxmlformats.org/drawingml/2006/table">
            <a:tbl>
              <a:tblPr/>
              <a:tblGrid>
                <a:gridCol w="1295400">
                  <a:extLst>
                    <a:ext uri="{9D8B030D-6E8A-4147-A177-3AD203B41FA5}">
                      <a16:colId xmlns:a16="http://schemas.microsoft.com/office/drawing/2014/main" xmlns="" val="2414495174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xmlns="" val="1163503588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ining Attend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ll to be searched &amp; enter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015851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v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2E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017757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4585155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 (WF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68961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 Testin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Manu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30137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mated tes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leniu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838722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B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cle DB PL/SQ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222869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c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ca B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07186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Objects Repor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287773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St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BM Datast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77166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Initi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Initi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260652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x Shellscrip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x Shellscrip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0636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/ABA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ABA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318802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basi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BASI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42883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++/Unix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95980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nfram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BOL/CIC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3114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nfram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A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65991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4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BOL/4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462444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4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G IV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61532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55FE822-747B-4F91-9208-121E52B65E1C}"/>
              </a:ext>
            </a:extLst>
          </p:cNvPr>
          <p:cNvSpPr txBox="1"/>
          <p:nvPr/>
        </p:nvSpPr>
        <p:spPr>
          <a:xfrm>
            <a:off x="239673" y="1082488"/>
            <a:ext cx="79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Based on the training attended , search the skill mentioned  in the table to the right</a:t>
            </a:r>
          </a:p>
          <a:p>
            <a:endParaRPr lang="en-US" sz="1200" dirty="0">
              <a:solidFill>
                <a:srgbClr val="FF0000"/>
              </a:solidFill>
            </a:endParaRPr>
          </a:p>
          <a:p>
            <a:r>
              <a:rPr lang="en-US" sz="1200" dirty="0">
                <a:solidFill>
                  <a:srgbClr val="FF0000"/>
                </a:solidFill>
              </a:rPr>
              <a:t>Click on arrow to see the Skill hierarchy. 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B35454D-FC00-482A-B96E-43B57B02E594}"/>
              </a:ext>
            </a:extLst>
          </p:cNvPr>
          <p:cNvSpPr/>
          <p:nvPr/>
        </p:nvSpPr>
        <p:spPr>
          <a:xfrm flipH="1">
            <a:off x="2208000" y="2576396"/>
            <a:ext cx="288000" cy="32087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432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AD5E74D-5027-4B24-9FA6-5539E932A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Skill Updat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0E3278C-C0BB-4BA5-A1B5-2BCDFE2AD7DF}"/>
              </a:ext>
            </a:extLst>
          </p:cNvPr>
          <p:cNvSpPr txBox="1"/>
          <p:nvPr/>
        </p:nvSpPr>
        <p:spPr>
          <a:xfrm>
            <a:off x="239740" y="1061673"/>
            <a:ext cx="792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Select the skill as per the training attended  Click on Add Skill</a:t>
            </a:r>
          </a:p>
          <a:p>
            <a:r>
              <a:rPr lang="en-US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6C32B7B-BECA-4B74-9B90-5214E7B7D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00" y="1505636"/>
            <a:ext cx="8399999" cy="3846728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A1675DBF-96C7-4EB8-A682-B80263F83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0154345"/>
              </p:ext>
            </p:extLst>
          </p:nvPr>
        </p:nvGraphicFramePr>
        <p:xfrm>
          <a:off x="8400000" y="1226150"/>
          <a:ext cx="3124200" cy="3498850"/>
        </p:xfrm>
        <a:graphic>
          <a:graphicData uri="http://schemas.openxmlformats.org/drawingml/2006/table">
            <a:tbl>
              <a:tblPr/>
              <a:tblGrid>
                <a:gridCol w="1295400">
                  <a:extLst>
                    <a:ext uri="{9D8B030D-6E8A-4147-A177-3AD203B41FA5}">
                      <a16:colId xmlns:a16="http://schemas.microsoft.com/office/drawing/2014/main" xmlns="" val="2414495174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xmlns="" val="1163503588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ining Attend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ll to be searched &amp; entere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015851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v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2E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017757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4585155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Net (WF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68961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al Testin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ing Manu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30137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mated tes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leniu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838722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B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cle DB PL/SQ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222869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c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ormatica B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07186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Objects Repor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287773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St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BM Datastag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77166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Initi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Initi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260652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x Shellscrip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x Shellscrip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0636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/ABA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ABA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318802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basi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 BASI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42883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++/Unix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95980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nfram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BOL/CIC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3114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nfram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AM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65991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4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BOL/4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462444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4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G IV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615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2477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1E53BF59-8A3C-4B78-911D-5EA861346572}"/>
    </a:ext>
  </a:extLst>
</a:theme>
</file>

<file path=ppt/theme/theme2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apgemini Palette">
    <a:dk1>
      <a:sysClr val="windowText" lastClr="000000"/>
    </a:dk1>
    <a:lt1>
      <a:srgbClr val="FFFFFF"/>
    </a:lt1>
    <a:dk2>
      <a:srgbClr val="2B143D"/>
    </a:dk2>
    <a:lt2>
      <a:srgbClr val="ECECEC"/>
    </a:lt2>
    <a:accent1>
      <a:srgbClr val="0070AD"/>
    </a:accent1>
    <a:accent2>
      <a:srgbClr val="12ABDB"/>
    </a:accent2>
    <a:accent3>
      <a:srgbClr val="2B143D"/>
    </a:accent3>
    <a:accent4>
      <a:srgbClr val="FF304C"/>
    </a:accent4>
    <a:accent5>
      <a:srgbClr val="95E616"/>
    </a:accent5>
    <a:accent6>
      <a:srgbClr val="00C37B"/>
    </a:accent6>
    <a:hlink>
      <a:srgbClr val="88D5ED"/>
    </a:hlink>
    <a:folHlink>
      <a:srgbClr val="7E39B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22</TotalTime>
  <Words>401</Words>
  <Application>Microsoft Office PowerPoint</Application>
  <PresentationFormat>Widescreen</PresentationFormat>
  <Paragraphs>134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Verdana</vt:lpstr>
      <vt:lpstr>Wingdings</vt:lpstr>
      <vt:lpstr>Capgemini Master</vt:lpstr>
      <vt:lpstr>Title Slide</vt:lpstr>
      <vt:lpstr>think-cell Slide</vt:lpstr>
      <vt:lpstr>Microsoft Word Document</vt:lpstr>
      <vt:lpstr> Process to update skill and upload CV</vt:lpstr>
      <vt:lpstr>Skill Update </vt:lpstr>
      <vt:lpstr>Skill Update </vt:lpstr>
      <vt:lpstr>Skill Update </vt:lpstr>
      <vt:lpstr>Skill Update </vt:lpstr>
      <vt:lpstr>Skill Update </vt:lpstr>
      <vt:lpstr>Skill Update</vt:lpstr>
      <vt:lpstr>Skill Update</vt:lpstr>
      <vt:lpstr>Skill Update</vt:lpstr>
      <vt:lpstr>Skill Update</vt:lpstr>
      <vt:lpstr>Skill Update</vt:lpstr>
      <vt:lpstr>Skill Update</vt:lpstr>
      <vt:lpstr>CV Upload</vt:lpstr>
      <vt:lpstr>CV Upload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Chandanshive, Abhijit</cp:lastModifiedBy>
  <cp:revision>240</cp:revision>
  <dcterms:created xsi:type="dcterms:W3CDTF">2017-11-02T14:01:05Z</dcterms:created>
  <dcterms:modified xsi:type="dcterms:W3CDTF">2018-07-11T08:48:15Z</dcterms:modified>
</cp:coreProperties>
</file>